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33.xml" ContentType="application/vnd.openxmlformats-officedocument.drawingml.chart+xml"/>
  <Override PartName="/ppt/charts/chart434.xml" ContentType="application/vnd.openxmlformats-officedocument.drawingml.chart+xml"/>
  <Override PartName="/ppt/charts/chart435.xml" ContentType="application/vnd.openxmlformats-officedocument.drawingml.chart+xml"/>
  <Override PartName="/ppt/charts/chart436.xml" ContentType="application/vnd.openxmlformats-officedocument.drawingml.chart+xml"/>
  <Override PartName="/ppt/charts/chart437.xml" ContentType="application/vnd.openxmlformats-officedocument.drawingml.chart+xml"/>
  <Override PartName="/ppt/charts/chart438.xml" ContentType="application/vnd.openxmlformats-officedocument.drawingml.chart+xml"/>
  <Override PartName="/ppt/charts/chart439.xml" ContentType="application/vnd.openxmlformats-officedocument.drawingml.chart+xml"/>
  <Override PartName="/ppt/charts/chart44.xml" ContentType="application/vnd.openxmlformats-officedocument.drawingml.chart+xml"/>
  <Override PartName="/ppt/charts/chart440.xml" ContentType="application/vnd.openxmlformats-officedocument.drawingml.chart+xml"/>
  <Override PartName="/ppt/charts/chart441.xml" ContentType="application/vnd.openxmlformats-officedocument.drawingml.chart+xml"/>
  <Override PartName="/ppt/charts/chart442.xml" ContentType="application/vnd.openxmlformats-officedocument.drawingml.chart+xml"/>
  <Override PartName="/ppt/charts/chart443.xml" ContentType="application/vnd.openxmlformats-officedocument.drawingml.chart+xml"/>
  <Override PartName="/ppt/charts/chart444.xml" ContentType="application/vnd.openxmlformats-officedocument.drawingml.chart+xml"/>
  <Override PartName="/ppt/charts/chart445.xml" ContentType="application/vnd.openxmlformats-officedocument.drawingml.chart+xml"/>
  <Override PartName="/ppt/charts/chart446.xml" ContentType="application/vnd.openxmlformats-officedocument.drawingml.chart+xml"/>
  <Override PartName="/ppt/charts/chart447.xml" ContentType="application/vnd.openxmlformats-officedocument.drawingml.chart+xml"/>
  <Override PartName="/ppt/charts/chart448.xml" ContentType="application/vnd.openxmlformats-officedocument.drawingml.chart+xml"/>
  <Override PartName="/ppt/charts/chart449.xml" ContentType="application/vnd.openxmlformats-officedocument.drawingml.chart+xml"/>
  <Override PartName="/ppt/charts/chart45.xml" ContentType="application/vnd.openxmlformats-officedocument.drawingml.chart+xml"/>
  <Override PartName="/ppt/charts/chart450.xml" ContentType="application/vnd.openxmlformats-officedocument.drawingml.chart+xml"/>
  <Override PartName="/ppt/charts/chart451.xml" ContentType="application/vnd.openxmlformats-officedocument.drawingml.chart+xml"/>
  <Override PartName="/ppt/charts/chart452.xml" ContentType="application/vnd.openxmlformats-officedocument.drawingml.chart+xml"/>
  <Override PartName="/ppt/charts/chart453.xml" ContentType="application/vnd.openxmlformats-officedocument.drawingml.chart+xml"/>
  <Override PartName="/ppt/charts/chart454.xml" ContentType="application/vnd.openxmlformats-officedocument.drawingml.chart+xml"/>
  <Override PartName="/ppt/charts/chart455.xml" ContentType="application/vnd.openxmlformats-officedocument.drawingml.chart+xml"/>
  <Override PartName="/ppt/charts/chart456.xml" ContentType="application/vnd.openxmlformats-officedocument.drawingml.chart+xml"/>
  <Override PartName="/ppt/charts/chart457.xml" ContentType="application/vnd.openxmlformats-officedocument.drawingml.chart+xml"/>
  <Override PartName="/ppt/charts/chart458.xml" ContentType="application/vnd.openxmlformats-officedocument.drawingml.chart+xml"/>
  <Override PartName="/ppt/charts/chart459.xml" ContentType="application/vnd.openxmlformats-officedocument.drawingml.chart+xml"/>
  <Override PartName="/ppt/charts/chart46.xml" ContentType="application/vnd.openxmlformats-officedocument.drawingml.chart+xml"/>
  <Override PartName="/ppt/charts/chart460.xml" ContentType="application/vnd.openxmlformats-officedocument.drawingml.chart+xml"/>
  <Override PartName="/ppt/charts/chart461.xml" ContentType="application/vnd.openxmlformats-officedocument.drawingml.chart+xml"/>
  <Override PartName="/ppt/charts/chart462.xml" ContentType="application/vnd.openxmlformats-officedocument.drawingml.chart+xml"/>
  <Override PartName="/ppt/charts/chart463.xml" ContentType="application/vnd.openxmlformats-officedocument.drawingml.chart+xml"/>
  <Override PartName="/ppt/charts/chart464.xml" ContentType="application/vnd.openxmlformats-officedocument.drawingml.chart+xml"/>
  <Override PartName="/ppt/charts/chart465.xml" ContentType="application/vnd.openxmlformats-officedocument.drawingml.chart+xml"/>
  <Override PartName="/ppt/charts/chart466.xml" ContentType="application/vnd.openxmlformats-officedocument.drawingml.chart+xml"/>
  <Override PartName="/ppt/charts/chart467.xml" ContentType="application/vnd.openxmlformats-officedocument.drawingml.chart+xml"/>
  <Override PartName="/ppt/charts/chart468.xml" ContentType="application/vnd.openxmlformats-officedocument.drawingml.chart+xml"/>
  <Override PartName="/ppt/charts/chart469.xml" ContentType="application/vnd.openxmlformats-officedocument.drawingml.chart+xml"/>
  <Override PartName="/ppt/charts/chart47.xml" ContentType="application/vnd.openxmlformats-officedocument.drawingml.chart+xml"/>
  <Override PartName="/ppt/charts/chart470.xml" ContentType="application/vnd.openxmlformats-officedocument.drawingml.chart+xml"/>
  <Override PartName="/ppt/charts/chart471.xml" ContentType="application/vnd.openxmlformats-officedocument.drawingml.chart+xml"/>
  <Override PartName="/ppt/charts/chart472.xml" ContentType="application/vnd.openxmlformats-officedocument.drawingml.chart+xml"/>
  <Override PartName="/ppt/charts/chart473.xml" ContentType="application/vnd.openxmlformats-officedocument.drawingml.chart+xml"/>
  <Override PartName="/ppt/charts/chart474.xml" ContentType="application/vnd.openxmlformats-officedocument.drawingml.chart+xml"/>
  <Override PartName="/ppt/charts/chart475.xml" ContentType="application/vnd.openxmlformats-officedocument.drawingml.chart+xml"/>
  <Override PartName="/ppt/charts/chart476.xml" ContentType="application/vnd.openxmlformats-officedocument.drawingml.chart+xml"/>
  <Override PartName="/ppt/charts/chart477.xml" ContentType="application/vnd.openxmlformats-officedocument.drawingml.chart+xml"/>
  <Override PartName="/ppt/charts/chart478.xml" ContentType="application/vnd.openxmlformats-officedocument.drawingml.chart+xml"/>
  <Override PartName="/ppt/charts/chart479.xml" ContentType="application/vnd.openxmlformats-officedocument.drawingml.chart+xml"/>
  <Override PartName="/ppt/charts/chart48.xml" ContentType="application/vnd.openxmlformats-officedocument.drawingml.chart+xml"/>
  <Override PartName="/ppt/charts/chart480.xml" ContentType="application/vnd.openxmlformats-officedocument.drawingml.chart+xml"/>
  <Override PartName="/ppt/charts/chart481.xml" ContentType="application/vnd.openxmlformats-officedocument.drawingml.chart+xml"/>
  <Override PartName="/ppt/charts/chart482.xml" ContentType="application/vnd.openxmlformats-officedocument.drawingml.chart+xml"/>
  <Override PartName="/ppt/charts/chart483.xml" ContentType="application/vnd.openxmlformats-officedocument.drawingml.chart+xml"/>
  <Override PartName="/ppt/charts/chart484.xml" ContentType="application/vnd.openxmlformats-officedocument.drawingml.chart+xml"/>
  <Override PartName="/ppt/charts/chart485.xml" ContentType="application/vnd.openxmlformats-officedocument.drawingml.chart+xml"/>
  <Override PartName="/ppt/charts/chart486.xml" ContentType="application/vnd.openxmlformats-officedocument.drawingml.chart+xml"/>
  <Override PartName="/ppt/charts/chart487.xml" ContentType="application/vnd.openxmlformats-officedocument.drawingml.chart+xml"/>
  <Override PartName="/ppt/charts/chart488.xml" ContentType="application/vnd.openxmlformats-officedocument.drawingml.chart+xml"/>
  <Override PartName="/ppt/charts/chart489.xml" ContentType="application/vnd.openxmlformats-officedocument.drawingml.chart+xml"/>
  <Override PartName="/ppt/charts/chart49.xml" ContentType="application/vnd.openxmlformats-officedocument.drawingml.chart+xml"/>
  <Override PartName="/ppt/charts/chart490.xml" ContentType="application/vnd.openxmlformats-officedocument.drawingml.chart+xml"/>
  <Override PartName="/ppt/charts/chart491.xml" ContentType="application/vnd.openxmlformats-officedocument.drawingml.chart+xml"/>
  <Override PartName="/ppt/charts/chart492.xml" ContentType="application/vnd.openxmlformats-officedocument.drawingml.chart+xml"/>
  <Override PartName="/ppt/charts/chart493.xml" ContentType="application/vnd.openxmlformats-officedocument.drawingml.chart+xml"/>
  <Override PartName="/ppt/charts/chart494.xml" ContentType="application/vnd.openxmlformats-officedocument.drawingml.chart+xml"/>
  <Override PartName="/ppt/charts/chart495.xml" ContentType="application/vnd.openxmlformats-officedocument.drawingml.chart+xml"/>
  <Override PartName="/ppt/charts/chart496.xml" ContentType="application/vnd.openxmlformats-officedocument.drawingml.chart+xml"/>
  <Override PartName="/ppt/charts/chart497.xml" ContentType="application/vnd.openxmlformats-officedocument.drawingml.chart+xml"/>
  <Override PartName="/ppt/charts/chart498.xml" ContentType="application/vnd.openxmlformats-officedocument.drawingml.chart+xml"/>
  <Override PartName="/ppt/charts/chart49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00.xml" ContentType="application/vnd.openxmlformats-officedocument.drawingml.chart+xml"/>
  <Override PartName="/ppt/charts/chart501.xml" ContentType="application/vnd.openxmlformats-officedocument.drawingml.chart+xml"/>
  <Override PartName="/ppt/charts/chart502.xml" ContentType="application/vnd.openxmlformats-officedocument.drawingml.chart+xml"/>
  <Override PartName="/ppt/charts/chart503.xml" ContentType="application/vnd.openxmlformats-officedocument.drawingml.chart+xml"/>
  <Override PartName="/ppt/charts/chart504.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11.xml" ContentType="application/vnd.ms-office.chartcolorstyle+xml"/>
  <Override PartName="/ppt/charts/colors112.xml" ContentType="application/vnd.ms-office.chartcolorstyle+xml"/>
  <Override PartName="/ppt/charts/colors113.xml" ContentType="application/vnd.ms-office.chartcolorstyle+xml"/>
  <Override PartName="/ppt/charts/colors114.xml" ContentType="application/vnd.ms-office.chartcolorstyle+xml"/>
  <Override PartName="/ppt/charts/colors115.xml" ContentType="application/vnd.ms-office.chartcolorstyle+xml"/>
  <Override PartName="/ppt/charts/colors116.xml" ContentType="application/vnd.ms-office.chartcolorstyle+xml"/>
  <Override PartName="/ppt/charts/colors117.xml" ContentType="application/vnd.ms-office.chartcolorstyle+xml"/>
  <Override PartName="/ppt/charts/colors118.xml" ContentType="application/vnd.ms-office.chartcolorstyle+xml"/>
  <Override PartName="/ppt/charts/colors119.xml" ContentType="application/vnd.ms-office.chartcolorstyle+xml"/>
  <Override PartName="/ppt/charts/colors12.xml" ContentType="application/vnd.ms-office.chartcolorstyle+xml"/>
  <Override PartName="/ppt/charts/colors120.xml" ContentType="application/vnd.ms-office.chartcolorstyle+xml"/>
  <Override PartName="/ppt/charts/colors121.xml" ContentType="application/vnd.ms-office.chartcolorstyle+xml"/>
  <Override PartName="/ppt/charts/colors122.xml" ContentType="application/vnd.ms-office.chartcolorstyle+xml"/>
  <Override PartName="/ppt/charts/colors123.xml" ContentType="application/vnd.ms-office.chartcolorstyle+xml"/>
  <Override PartName="/ppt/charts/colors124.xml" ContentType="application/vnd.ms-office.chartcolorstyle+xml"/>
  <Override PartName="/ppt/charts/colors125.xml" ContentType="application/vnd.ms-office.chartcolorstyle+xml"/>
  <Override PartName="/ppt/charts/colors126.xml" ContentType="application/vnd.ms-office.chartcolorstyle+xml"/>
  <Override PartName="/ppt/charts/colors127.xml" ContentType="application/vnd.ms-office.chartcolorstyle+xml"/>
  <Override PartName="/ppt/charts/colors128.xml" ContentType="application/vnd.ms-office.chartcolorstyle+xml"/>
  <Override PartName="/ppt/charts/colors129.xml" ContentType="application/vnd.ms-office.chartcolorstyle+xml"/>
  <Override PartName="/ppt/charts/colors13.xml" ContentType="application/vnd.ms-office.chartcolorstyle+xml"/>
  <Override PartName="/ppt/charts/colors130.xml" ContentType="application/vnd.ms-office.chartcolorstyle+xml"/>
  <Override PartName="/ppt/charts/colors131.xml" ContentType="application/vnd.ms-office.chartcolorstyle+xml"/>
  <Override PartName="/ppt/charts/colors132.xml" ContentType="application/vnd.ms-office.chartcolorstyle+xml"/>
  <Override PartName="/ppt/charts/colors133.xml" ContentType="application/vnd.ms-office.chartcolorstyle+xml"/>
  <Override PartName="/ppt/charts/colors134.xml" ContentType="application/vnd.ms-office.chartcolorstyle+xml"/>
  <Override PartName="/ppt/charts/colors135.xml" ContentType="application/vnd.ms-office.chartcolorstyle+xml"/>
  <Override PartName="/ppt/charts/colors136.xml" ContentType="application/vnd.ms-office.chartcolorstyle+xml"/>
  <Override PartName="/ppt/charts/colors137.xml" ContentType="application/vnd.ms-office.chartcolorstyle+xml"/>
  <Override PartName="/ppt/charts/colors138.xml" ContentType="application/vnd.ms-office.chartcolorstyle+xml"/>
  <Override PartName="/ppt/charts/colors139.xml" ContentType="application/vnd.ms-office.chartcolorstyle+xml"/>
  <Override PartName="/ppt/charts/colors14.xml" ContentType="application/vnd.ms-office.chartcolorstyle+xml"/>
  <Override PartName="/ppt/charts/colors140.xml" ContentType="application/vnd.ms-office.chartcolorstyle+xml"/>
  <Override PartName="/ppt/charts/colors141.xml" ContentType="application/vnd.ms-office.chartcolorstyle+xml"/>
  <Override PartName="/ppt/charts/colors142.xml" ContentType="application/vnd.ms-office.chartcolorstyle+xml"/>
  <Override PartName="/ppt/charts/colors143.xml" ContentType="application/vnd.ms-office.chartcolorstyle+xml"/>
  <Override PartName="/ppt/charts/colors144.xml" ContentType="application/vnd.ms-office.chartcolorstyle+xml"/>
  <Override PartName="/ppt/charts/colors145.xml" ContentType="application/vnd.ms-office.chartcolorstyle+xml"/>
  <Override PartName="/ppt/charts/colors146.xml" ContentType="application/vnd.ms-office.chartcolorstyle+xml"/>
  <Override PartName="/ppt/charts/colors147.xml" ContentType="application/vnd.ms-office.chartcolorstyle+xml"/>
  <Override PartName="/ppt/charts/colors148.xml" ContentType="application/vnd.ms-office.chartcolorstyle+xml"/>
  <Override PartName="/ppt/charts/colors149.xml" ContentType="application/vnd.ms-office.chartcolorstyle+xml"/>
  <Override PartName="/ppt/charts/colors15.xml" ContentType="application/vnd.ms-office.chartcolorstyle+xml"/>
  <Override PartName="/ppt/charts/colors150.xml" ContentType="application/vnd.ms-office.chartcolorstyle+xml"/>
  <Override PartName="/ppt/charts/colors151.xml" ContentType="application/vnd.ms-office.chartcolorstyle+xml"/>
  <Override PartName="/ppt/charts/colors152.xml" ContentType="application/vnd.ms-office.chartcolorstyle+xml"/>
  <Override PartName="/ppt/charts/colors153.xml" ContentType="application/vnd.ms-office.chartcolorstyle+xml"/>
  <Override PartName="/ppt/charts/colors154.xml" ContentType="application/vnd.ms-office.chartcolorstyle+xml"/>
  <Override PartName="/ppt/charts/colors155.xml" ContentType="application/vnd.ms-office.chartcolorstyle+xml"/>
  <Override PartName="/ppt/charts/colors156.xml" ContentType="application/vnd.ms-office.chartcolorstyle+xml"/>
  <Override PartName="/ppt/charts/colors157.xml" ContentType="application/vnd.ms-office.chartcolorstyle+xml"/>
  <Override PartName="/ppt/charts/colors158.xml" ContentType="application/vnd.ms-office.chartcolorstyle+xml"/>
  <Override PartName="/ppt/charts/colors159.xml" ContentType="application/vnd.ms-office.chartcolorstyle+xml"/>
  <Override PartName="/ppt/charts/colors16.xml" ContentType="application/vnd.ms-office.chartcolorstyle+xml"/>
  <Override PartName="/ppt/charts/colors160.xml" ContentType="application/vnd.ms-office.chartcolorstyle+xml"/>
  <Override PartName="/ppt/charts/colors161.xml" ContentType="application/vnd.ms-office.chartcolorstyle+xml"/>
  <Override PartName="/ppt/charts/colors162.xml" ContentType="application/vnd.ms-office.chartcolorstyle+xml"/>
  <Override PartName="/ppt/charts/colors163.xml" ContentType="application/vnd.ms-office.chartcolorstyle+xml"/>
  <Override PartName="/ppt/charts/colors164.xml" ContentType="application/vnd.ms-office.chartcolorstyle+xml"/>
  <Override PartName="/ppt/charts/colors165.xml" ContentType="application/vnd.ms-office.chartcolorstyle+xml"/>
  <Override PartName="/ppt/charts/colors166.xml" ContentType="application/vnd.ms-office.chartcolorstyle+xml"/>
  <Override PartName="/ppt/charts/colors167.xml" ContentType="application/vnd.ms-office.chartcolorstyle+xml"/>
  <Override PartName="/ppt/charts/colors168.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11.xml" ContentType="application/vnd.ms-office.chartstyle+xml"/>
  <Override PartName="/ppt/charts/style112.xml" ContentType="application/vnd.ms-office.chartstyle+xml"/>
  <Override PartName="/ppt/charts/style113.xml" ContentType="application/vnd.ms-office.chartstyle+xml"/>
  <Override PartName="/ppt/charts/style114.xml" ContentType="application/vnd.ms-office.chartstyle+xml"/>
  <Override PartName="/ppt/charts/style115.xml" ContentType="application/vnd.ms-office.chartstyle+xml"/>
  <Override PartName="/ppt/charts/style116.xml" ContentType="application/vnd.ms-office.chartstyle+xml"/>
  <Override PartName="/ppt/charts/style117.xml" ContentType="application/vnd.ms-office.chartstyle+xml"/>
  <Override PartName="/ppt/charts/style118.xml" ContentType="application/vnd.ms-office.chartstyle+xml"/>
  <Override PartName="/ppt/charts/style119.xml" ContentType="application/vnd.ms-office.chartstyle+xml"/>
  <Override PartName="/ppt/charts/style12.xml" ContentType="application/vnd.ms-office.chartstyle+xml"/>
  <Override PartName="/ppt/charts/style120.xml" ContentType="application/vnd.ms-office.chartstyle+xml"/>
  <Override PartName="/ppt/charts/style121.xml" ContentType="application/vnd.ms-office.chartstyle+xml"/>
  <Override PartName="/ppt/charts/style122.xml" ContentType="application/vnd.ms-office.chartstyle+xml"/>
  <Override PartName="/ppt/charts/style123.xml" ContentType="application/vnd.ms-office.chartstyle+xml"/>
  <Override PartName="/ppt/charts/style124.xml" ContentType="application/vnd.ms-office.chartstyle+xml"/>
  <Override PartName="/ppt/charts/style125.xml" ContentType="application/vnd.ms-office.chartstyle+xml"/>
  <Override PartName="/ppt/charts/style126.xml" ContentType="application/vnd.ms-office.chartstyle+xml"/>
  <Override PartName="/ppt/charts/style127.xml" ContentType="application/vnd.ms-office.chartstyle+xml"/>
  <Override PartName="/ppt/charts/style128.xml" ContentType="application/vnd.ms-office.chartstyle+xml"/>
  <Override PartName="/ppt/charts/style129.xml" ContentType="application/vnd.ms-office.chartstyle+xml"/>
  <Override PartName="/ppt/charts/style13.xml" ContentType="application/vnd.ms-office.chartstyle+xml"/>
  <Override PartName="/ppt/charts/style130.xml" ContentType="application/vnd.ms-office.chartstyle+xml"/>
  <Override PartName="/ppt/charts/style131.xml" ContentType="application/vnd.ms-office.chartstyle+xml"/>
  <Override PartName="/ppt/charts/style132.xml" ContentType="application/vnd.ms-office.chartstyle+xml"/>
  <Override PartName="/ppt/charts/style133.xml" ContentType="application/vnd.ms-office.chartstyle+xml"/>
  <Override PartName="/ppt/charts/style134.xml" ContentType="application/vnd.ms-office.chartstyle+xml"/>
  <Override PartName="/ppt/charts/style135.xml" ContentType="application/vnd.ms-office.chartstyle+xml"/>
  <Override PartName="/ppt/charts/style136.xml" ContentType="application/vnd.ms-office.chartstyle+xml"/>
  <Override PartName="/ppt/charts/style137.xml" ContentType="application/vnd.ms-office.chartstyle+xml"/>
  <Override PartName="/ppt/charts/style138.xml" ContentType="application/vnd.ms-office.chartstyle+xml"/>
  <Override PartName="/ppt/charts/style139.xml" ContentType="application/vnd.ms-office.chartstyle+xml"/>
  <Override PartName="/ppt/charts/style14.xml" ContentType="application/vnd.ms-office.chartstyle+xml"/>
  <Override PartName="/ppt/charts/style140.xml" ContentType="application/vnd.ms-office.chartstyle+xml"/>
  <Override PartName="/ppt/charts/style141.xml" ContentType="application/vnd.ms-office.chartstyle+xml"/>
  <Override PartName="/ppt/charts/style142.xml" ContentType="application/vnd.ms-office.chartstyle+xml"/>
  <Override PartName="/ppt/charts/style143.xml" ContentType="application/vnd.ms-office.chartstyle+xml"/>
  <Override PartName="/ppt/charts/style144.xml" ContentType="application/vnd.ms-office.chartstyle+xml"/>
  <Override PartName="/ppt/charts/style145.xml" ContentType="application/vnd.ms-office.chartstyle+xml"/>
  <Override PartName="/ppt/charts/style146.xml" ContentType="application/vnd.ms-office.chartstyle+xml"/>
  <Override PartName="/ppt/charts/style147.xml" ContentType="application/vnd.ms-office.chartstyle+xml"/>
  <Override PartName="/ppt/charts/style148.xml" ContentType="application/vnd.ms-office.chartstyle+xml"/>
  <Override PartName="/ppt/charts/style149.xml" ContentType="application/vnd.ms-office.chartstyle+xml"/>
  <Override PartName="/ppt/charts/style15.xml" ContentType="application/vnd.ms-office.chartstyle+xml"/>
  <Override PartName="/ppt/charts/style150.xml" ContentType="application/vnd.ms-office.chartstyle+xml"/>
  <Override PartName="/ppt/charts/style151.xml" ContentType="application/vnd.ms-office.chartstyle+xml"/>
  <Override PartName="/ppt/charts/style152.xml" ContentType="application/vnd.ms-office.chartstyle+xml"/>
  <Override PartName="/ppt/charts/style153.xml" ContentType="application/vnd.ms-office.chartstyle+xml"/>
  <Override PartName="/ppt/charts/style154.xml" ContentType="application/vnd.ms-office.chartstyle+xml"/>
  <Override PartName="/ppt/charts/style155.xml" ContentType="application/vnd.ms-office.chartstyle+xml"/>
  <Override PartName="/ppt/charts/style156.xml" ContentType="application/vnd.ms-office.chartstyle+xml"/>
  <Override PartName="/ppt/charts/style157.xml" ContentType="application/vnd.ms-office.chartstyle+xml"/>
  <Override PartName="/ppt/charts/style158.xml" ContentType="application/vnd.ms-office.chartstyle+xml"/>
  <Override PartName="/ppt/charts/style159.xml" ContentType="application/vnd.ms-office.chartstyle+xml"/>
  <Override PartName="/ppt/charts/style16.xml" ContentType="application/vnd.ms-office.chartstyle+xml"/>
  <Override PartName="/ppt/charts/style160.xml" ContentType="application/vnd.ms-office.chartstyle+xml"/>
  <Override PartName="/ppt/charts/style161.xml" ContentType="application/vnd.ms-office.chartstyle+xml"/>
  <Override PartName="/ppt/charts/style162.xml" ContentType="application/vnd.ms-office.chartstyle+xml"/>
  <Override PartName="/ppt/charts/style163.xml" ContentType="application/vnd.ms-office.chartstyle+xml"/>
  <Override PartName="/ppt/charts/style164.xml" ContentType="application/vnd.ms-office.chartstyle+xml"/>
  <Override PartName="/ppt/charts/style165.xml" ContentType="application/vnd.ms-office.chartstyle+xml"/>
  <Override PartName="/ppt/charts/style166.xml" ContentType="application/vnd.ms-office.chartstyle+xml"/>
  <Override PartName="/ppt/charts/style167.xml" ContentType="application/vnd.ms-office.chartstyle+xml"/>
  <Override PartName="/ppt/charts/style168.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29.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447"/>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 id="2147477521" r:id="rId161"/>
    <p:sldId id="2147477522" r:id="rId162"/>
    <p:sldId id="2147477523" r:id="rId163"/>
    <p:sldId id="2147477524" r:id="rId164"/>
    <p:sldId id="2147477525" r:id="rId165"/>
    <p:sldId id="2147477526" r:id="rId166"/>
    <p:sldId id="2147477527" r:id="rId167"/>
    <p:sldId id="2147477528" r:id="rId168"/>
    <p:sldId id="2147477529" r:id="rId169"/>
    <p:sldId id="2147477530" r:id="rId170"/>
    <p:sldId id="2147477531" r:id="rId171"/>
    <p:sldId id="2147477532" r:id="rId172"/>
    <p:sldId id="2147477533" r:id="rId173"/>
    <p:sldId id="2147477534" r:id="rId174"/>
    <p:sldId id="2147477535" r:id="rId175"/>
    <p:sldId id="2147477536" r:id="rId176"/>
    <p:sldId id="2147477537" r:id="rId177"/>
    <p:sldId id="2147477538" r:id="rId178"/>
    <p:sldId id="2147477539" r:id="rId179"/>
    <p:sldId id="2147477540" r:id="rId180"/>
    <p:sldId id="2147477541" r:id="rId181"/>
    <p:sldId id="2147477542" r:id="rId182"/>
    <p:sldId id="2147477543" r:id="rId183"/>
    <p:sldId id="2147477544" r:id="rId184"/>
    <p:sldId id="2147477545" r:id="rId185"/>
    <p:sldId id="2147477546" r:id="rId186"/>
    <p:sldId id="2147477547" r:id="rId187"/>
    <p:sldId id="2147477548" r:id="rId188"/>
    <p:sldId id="2147477549" r:id="rId189"/>
    <p:sldId id="2147477550" r:id="rId190"/>
    <p:sldId id="2147477551" r:id="rId191"/>
    <p:sldId id="2147477552" r:id="rId192"/>
    <p:sldId id="2147477553" r:id="rId193"/>
    <p:sldId id="2147477554" r:id="rId194"/>
    <p:sldId id="2147477555" r:id="rId195"/>
    <p:sldId id="2147477556" r:id="rId196"/>
    <p:sldId id="2147477557" r:id="rId197"/>
    <p:sldId id="2147477558" r:id="rId198"/>
    <p:sldId id="2147477559" r:id="rId199"/>
    <p:sldId id="2147477560" r:id="rId200"/>
    <p:sldId id="2147477561" r:id="rId201"/>
    <p:sldId id="2147477562" r:id="rId202"/>
    <p:sldId id="2147477563" r:id="rId203"/>
    <p:sldId id="2147477564" r:id="rId204"/>
    <p:sldId id="2147477565" r:id="rId205"/>
    <p:sldId id="2147477566" r:id="rId206"/>
    <p:sldId id="2147477567" r:id="rId207"/>
    <p:sldId id="2147477568" r:id="rId208"/>
    <p:sldId id="2147477569" r:id="rId209"/>
    <p:sldId id="2147477570" r:id="rId210"/>
    <p:sldId id="2147477571" r:id="rId211"/>
    <p:sldId id="2147477572" r:id="rId212"/>
    <p:sldId id="2147477573" r:id="rId213"/>
    <p:sldId id="2147477574" r:id="rId214"/>
    <p:sldId id="2147477575" r:id="rId215"/>
    <p:sldId id="2147477576" r:id="rId216"/>
    <p:sldId id="2147477577" r:id="rId217"/>
    <p:sldId id="2147477578" r:id="rId218"/>
    <p:sldId id="2147477579" r:id="rId219"/>
    <p:sldId id="2147477580" r:id="rId220"/>
    <p:sldId id="2147477581" r:id="rId221"/>
    <p:sldId id="2147477582" r:id="rId222"/>
    <p:sldId id="2147477583" r:id="rId223"/>
    <p:sldId id="2147477584" r:id="rId224"/>
    <p:sldId id="2147477585" r:id="rId225"/>
    <p:sldId id="2147477586" r:id="rId226"/>
    <p:sldId id="2147477587" r:id="rId227"/>
    <p:sldId id="2147477588" r:id="rId228"/>
    <p:sldId id="2147477589" r:id="rId229"/>
    <p:sldId id="2147477590" r:id="rId230"/>
    <p:sldId id="2147477591" r:id="rId231"/>
    <p:sldId id="2147477592" r:id="rId232"/>
    <p:sldId id="2147477593" r:id="rId233"/>
    <p:sldId id="2147477594" r:id="rId234"/>
    <p:sldId id="2147477595" r:id="rId235"/>
    <p:sldId id="2147477596" r:id="rId236"/>
    <p:sldId id="2147477597" r:id="rId237"/>
    <p:sldId id="2147477598" r:id="rId238"/>
    <p:sldId id="2147477599" r:id="rId239"/>
    <p:sldId id="2147477600" r:id="rId240"/>
    <p:sldId id="2147477601" r:id="rId241"/>
    <p:sldId id="2147477602" r:id="rId242"/>
    <p:sldId id="2147477603" r:id="rId243"/>
    <p:sldId id="2147477604" r:id="rId244"/>
    <p:sldId id="2147477605" r:id="rId245"/>
    <p:sldId id="2147477606" r:id="rId246"/>
    <p:sldId id="2147477607" r:id="rId247"/>
    <p:sldId id="2147477608" r:id="rId248"/>
    <p:sldId id="2147477609" r:id="rId249"/>
    <p:sldId id="2147477610" r:id="rId250"/>
    <p:sldId id="2147477611" r:id="rId251"/>
    <p:sldId id="2147477612" r:id="rId252"/>
    <p:sldId id="2147477613" r:id="rId253"/>
    <p:sldId id="2147477614" r:id="rId254"/>
    <p:sldId id="2147477615" r:id="rId255"/>
    <p:sldId id="2147477616" r:id="rId256"/>
    <p:sldId id="2147477617" r:id="rId257"/>
    <p:sldId id="2147477618" r:id="rId258"/>
    <p:sldId id="2147477619" r:id="rId259"/>
    <p:sldId id="2147477620" r:id="rId260"/>
    <p:sldId id="2147477621" r:id="rId261"/>
    <p:sldId id="2147477622" r:id="rId262"/>
    <p:sldId id="2147477623" r:id="rId263"/>
    <p:sldId id="2147477624" r:id="rId264"/>
    <p:sldId id="2147477625" r:id="rId265"/>
    <p:sldId id="2147477626" r:id="rId266"/>
    <p:sldId id="2147477627" r:id="rId267"/>
    <p:sldId id="2147477628" r:id="rId268"/>
    <p:sldId id="2147477629" r:id="rId269"/>
    <p:sldId id="2147477630" r:id="rId270"/>
    <p:sldId id="2147477631" r:id="rId271"/>
    <p:sldId id="2147477632" r:id="rId272"/>
    <p:sldId id="2147477633" r:id="rId273"/>
    <p:sldId id="2147477634" r:id="rId274"/>
    <p:sldId id="2147477635" r:id="rId275"/>
    <p:sldId id="2147477636" r:id="rId276"/>
    <p:sldId id="2147477637" r:id="rId277"/>
    <p:sldId id="2147477638" r:id="rId278"/>
    <p:sldId id="2147477639" r:id="rId279"/>
    <p:sldId id="2147477640" r:id="rId280"/>
    <p:sldId id="2147477641" r:id="rId281"/>
    <p:sldId id="2147477642" r:id="rId282"/>
    <p:sldId id="2147477643" r:id="rId283"/>
    <p:sldId id="2147477644" r:id="rId284"/>
    <p:sldId id="2147477645" r:id="rId285"/>
    <p:sldId id="2147477646" r:id="rId286"/>
    <p:sldId id="2147477647" r:id="rId287"/>
    <p:sldId id="2147477648" r:id="rId288"/>
    <p:sldId id="2147477649" r:id="rId289"/>
    <p:sldId id="2147477650" r:id="rId290"/>
    <p:sldId id="2147477651" r:id="rId291"/>
    <p:sldId id="2147477652" r:id="rId292"/>
    <p:sldId id="2147477653" r:id="rId293"/>
    <p:sldId id="2147477654" r:id="rId294"/>
    <p:sldId id="2147477655" r:id="rId295"/>
    <p:sldId id="2147477656" r:id="rId296"/>
    <p:sldId id="2147477657" r:id="rId297"/>
    <p:sldId id="2147477658" r:id="rId298"/>
    <p:sldId id="2147477659" r:id="rId299"/>
    <p:sldId id="2147477660" r:id="rId300"/>
    <p:sldId id="2147477661" r:id="rId301"/>
    <p:sldId id="2147477662" r:id="rId302"/>
    <p:sldId id="2147477663" r:id="rId303"/>
    <p:sldId id="2147477664" r:id="rId304"/>
    <p:sldId id="2147477665" r:id="rId305"/>
    <p:sldId id="2147477666" r:id="rId306"/>
    <p:sldId id="2147477667" r:id="rId307"/>
    <p:sldId id="2147477668" r:id="rId308"/>
    <p:sldId id="2147477669" r:id="rId309"/>
    <p:sldId id="2147477670" r:id="rId310"/>
    <p:sldId id="2147477671" r:id="rId311"/>
    <p:sldId id="2147477672" r:id="rId312"/>
    <p:sldId id="2147477673" r:id="rId313"/>
    <p:sldId id="2147477674" r:id="rId314"/>
    <p:sldId id="2147477675" r:id="rId315"/>
    <p:sldId id="2147477676" r:id="rId316"/>
    <p:sldId id="2147477677" r:id="rId317"/>
    <p:sldId id="2147477678" r:id="rId318"/>
    <p:sldId id="2147477679" r:id="rId319"/>
    <p:sldId id="2147477680" r:id="rId320"/>
    <p:sldId id="2147477681" r:id="rId321"/>
    <p:sldId id="2147477682" r:id="rId322"/>
    <p:sldId id="2147477683" r:id="rId323"/>
    <p:sldId id="2147477684" r:id="rId324"/>
    <p:sldId id="2147477685" r:id="rId325"/>
    <p:sldId id="2147477686" r:id="rId326"/>
    <p:sldId id="2147477687" r:id="rId327"/>
    <p:sldId id="2147477688" r:id="rId328"/>
    <p:sldId id="2147477689" r:id="rId329"/>
    <p:sldId id="2147477690" r:id="rId330"/>
    <p:sldId id="2147477691" r:id="rId331"/>
    <p:sldId id="2147477692" r:id="rId332"/>
    <p:sldId id="2147477693" r:id="rId333"/>
    <p:sldId id="2147477694" r:id="rId334"/>
    <p:sldId id="2147477695" r:id="rId335"/>
    <p:sldId id="2147477696" r:id="rId336"/>
    <p:sldId id="2147477697" r:id="rId337"/>
    <p:sldId id="2147477698" r:id="rId338"/>
    <p:sldId id="2147477699" r:id="rId339"/>
    <p:sldId id="2147477700" r:id="rId340"/>
    <p:sldId id="2147477701" r:id="rId341"/>
    <p:sldId id="2147477702" r:id="rId342"/>
    <p:sldId id="2147477703" r:id="rId343"/>
    <p:sldId id="2147477704" r:id="rId344"/>
    <p:sldId id="2147477705" r:id="rId345"/>
    <p:sldId id="2147477706" r:id="rId346"/>
    <p:sldId id="2147477707" r:id="rId347"/>
    <p:sldId id="2147477708" r:id="rId348"/>
    <p:sldId id="2147477709" r:id="rId349"/>
    <p:sldId id="2147477710" r:id="rId350"/>
    <p:sldId id="2147477711" r:id="rId351"/>
    <p:sldId id="2147477712" r:id="rId352"/>
    <p:sldId id="2147477713" r:id="rId353"/>
    <p:sldId id="2147477714" r:id="rId354"/>
    <p:sldId id="2147477715" r:id="rId355"/>
    <p:sldId id="2147477716" r:id="rId356"/>
    <p:sldId id="2147477717" r:id="rId357"/>
    <p:sldId id="2147477718" r:id="rId358"/>
    <p:sldId id="2147477719" r:id="rId359"/>
    <p:sldId id="2147477720" r:id="rId360"/>
    <p:sldId id="2147477721" r:id="rId361"/>
    <p:sldId id="2147477722" r:id="rId362"/>
    <p:sldId id="2147477723" r:id="rId363"/>
    <p:sldId id="2147477724" r:id="rId364"/>
    <p:sldId id="2147477725" r:id="rId365"/>
    <p:sldId id="2147477726" r:id="rId366"/>
    <p:sldId id="2147477727" r:id="rId367"/>
    <p:sldId id="2147477728" r:id="rId368"/>
    <p:sldId id="2147477729" r:id="rId369"/>
    <p:sldId id="2147477730" r:id="rId370"/>
    <p:sldId id="2147477731" r:id="rId371"/>
    <p:sldId id="2147477732" r:id="rId372"/>
    <p:sldId id="2147477733" r:id="rId373"/>
    <p:sldId id="2147477734" r:id="rId374"/>
    <p:sldId id="2147477735" r:id="rId375"/>
    <p:sldId id="2147477736" r:id="rId376"/>
    <p:sldId id="2147477737" r:id="rId377"/>
    <p:sldId id="2147477738" r:id="rId378"/>
    <p:sldId id="2147477739" r:id="rId379"/>
    <p:sldId id="2147477740" r:id="rId380"/>
    <p:sldId id="2147477741" r:id="rId381"/>
    <p:sldId id="2147477742" r:id="rId382"/>
    <p:sldId id="2147477743" r:id="rId383"/>
    <p:sldId id="2147477744" r:id="rId384"/>
    <p:sldId id="2147477745" r:id="rId385"/>
    <p:sldId id="2147477746" r:id="rId386"/>
    <p:sldId id="2147477747" r:id="rId387"/>
    <p:sldId id="2147477748" r:id="rId388"/>
    <p:sldId id="2147477749" r:id="rId389"/>
    <p:sldId id="2147477750" r:id="rId390"/>
    <p:sldId id="2147477751" r:id="rId391"/>
    <p:sldId id="2147477752" r:id="rId392"/>
    <p:sldId id="2147477753" r:id="rId393"/>
    <p:sldId id="2147477754" r:id="rId394"/>
    <p:sldId id="2147477755" r:id="rId395"/>
    <p:sldId id="2147477756" r:id="rId396"/>
    <p:sldId id="2147477757" r:id="rId397"/>
    <p:sldId id="2147477758" r:id="rId398"/>
    <p:sldId id="2147477759" r:id="rId399"/>
    <p:sldId id="2147477760" r:id="rId400"/>
    <p:sldId id="2147477761" r:id="rId401"/>
    <p:sldId id="2147477762" r:id="rId402"/>
    <p:sldId id="2147477763" r:id="rId403"/>
    <p:sldId id="2147477764" r:id="rId404"/>
    <p:sldId id="2147477765" r:id="rId405"/>
    <p:sldId id="2147477766" r:id="rId406"/>
    <p:sldId id="2147477767" r:id="rId407"/>
    <p:sldId id="2147477768" r:id="rId408"/>
    <p:sldId id="2147477769" r:id="rId409"/>
    <p:sldId id="2147477770" r:id="rId410"/>
    <p:sldId id="2147477771" r:id="rId411"/>
    <p:sldId id="2147477772" r:id="rId412"/>
    <p:sldId id="2147477773" r:id="rId413"/>
    <p:sldId id="2147477774" r:id="rId414"/>
    <p:sldId id="2147477775" r:id="rId415"/>
    <p:sldId id="2147477776" r:id="rId416"/>
    <p:sldId id="2147477777" r:id="rId417"/>
    <p:sldId id="2147477778" r:id="rId418"/>
    <p:sldId id="2147477779" r:id="rId419"/>
    <p:sldId id="2147477780" r:id="rId420"/>
    <p:sldId id="2147477781" r:id="rId421"/>
    <p:sldId id="2147477782" r:id="rId422"/>
    <p:sldId id="2147477783" r:id="rId423"/>
    <p:sldId id="2147477784" r:id="rId424"/>
    <p:sldId id="2147477785" r:id="rId425"/>
    <p:sldId id="2147477786" r:id="rId426"/>
    <p:sldId id="2147477787" r:id="rId427"/>
    <p:sldId id="2147477788" r:id="rId428"/>
    <p:sldId id="2147477789" r:id="rId429"/>
    <p:sldId id="2147477790" r:id="rId430"/>
    <p:sldId id="2147477791" r:id="rId431"/>
    <p:sldId id="2147477792" r:id="rId432"/>
    <p:sldId id="2147477793" r:id="rId433"/>
    <p:sldId id="2147477794" r:id="rId434"/>
    <p:sldId id="2147477795" r:id="rId435"/>
    <p:sldId id="2147477796" r:id="rId436"/>
    <p:sldId id="2147477797" r:id="rId437"/>
    <p:sldId id="2147477798" r:id="rId438"/>
    <p:sldId id="2147477799" r:id="rId439"/>
    <p:sldId id="2147477800" r:id="rId440"/>
    <p:sldId id="2147477801" r:id="rId441"/>
    <p:sldId id="2147477802" r:id="rId442"/>
    <p:sldId id="2147477803" r:id="rId443"/>
    <p:sldId id="2147477804" r:id="rId444"/>
    <p:sldId id="2147477805" r:id="rId445"/>
    <p:sldId id="2147477806" r:id="rId44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Summary Category" id="{F08EFE75-10DA-40E0-ACFA-F0B045C54A8F}">
          <p14:sldIdLst>
            <p14:sldId id="2147477365"/>
            <p14:sldId id="2147477366"/>
            <p14:sldId id="2147477367"/>
            <p14:sldId id="2147477368"/>
            <p14:sldId id="2147477369"/>
            <p14:sldId id="2147477370"/>
            <p14:sldId id="2147477371"/>
          </p14:sldIdLst>
        </p14:section>
        <p14:section name="Price Positioning Summary Sector" id="{B20F0E26-65C7-4202-9B30-3ADDA78250CE}">
          <p14:sldIdLst>
            <p14:sldId id="2147477372"/>
            <p14:sldId id="2147477373"/>
            <p14:sldId id="2147477374"/>
            <p14:sldId id="2147477375"/>
            <p14:sldId id="2147477376"/>
            <p14:sldId id="2147477377"/>
            <p14:sldId id="2147477378"/>
          </p14:sldIdLst>
        </p14:section>
        <p14:section name="Price Positioning Summary Segment" id="{5F72207A-5338-4A25-A0D1-000DA2A0B28E}">
          <p14:sldIdLst>
            <p14:sldId id="2147477379"/>
            <p14:sldId id="2147477380"/>
            <p14:sldId id="2147477381"/>
            <p14:sldId id="2147477382"/>
            <p14:sldId id="2147477383"/>
            <p14:sldId id="2147477384"/>
            <p14:sldId id="2147477385"/>
          </p14:sldIdLst>
        </p14:section>
        <p14:section name="Price Positioning Summary Subsegment" id="{0FF2808E-8521-44C7-8BF4-3B867AEB25BF}">
          <p14:sldIdLst>
            <p14:sldId id="2147477386"/>
            <p14:sldId id="2147477387"/>
            <p14:sldId id="2147477388"/>
            <p14:sldId id="2147477389"/>
            <p14:sldId id="2147477390"/>
            <p14:sldId id="2147477391"/>
            <p14:sldId id="2147477392"/>
          </p14:sldIdLst>
        </p14:section>
        <p14:section name="Price Positioning Summary SubCategory" id="{F304D499-F5A0-45CA-B7EC-A3D03AEC24DA}">
          <p14:sldIdLst>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Lst>
        </p14:section>
        <p14:section name="Price Positioning Analysis By Brands" id="{C1080EA6-B1E0-4D7E-BDBC-B797FC892BAB}">
          <p14:sldIdLst>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Lst>
        </p14:section>
        <p14:section name="Price Positioning Analysis By Manufacturer" id="{6CC6709F-5BF8-49FB-ABA6-1E9C98C863F4}">
          <p14:sldIdLst>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 id="2147477604"/>
            <p14:sldId id="2147477605"/>
            <p14:sldId id="2147477606"/>
            <p14:sldId id="2147477607"/>
            <p14:sldId id="2147477608"/>
            <p14:sldId id="2147477609"/>
            <p14:sldId id="2147477610"/>
            <p14:sldId id="2147477611"/>
            <p14:sldId id="2147477612"/>
            <p14:sldId id="2147477613"/>
            <p14:sldId id="2147477614"/>
            <p14:sldId id="2147477615"/>
            <p14:sldId id="2147477616"/>
            <p14:sldId id="2147477617"/>
            <p14:sldId id="2147477618"/>
            <p14:sldId id="2147477619"/>
            <p14:sldId id="2147477620"/>
            <p14:sldId id="2147477621"/>
            <p14:sldId id="2147477622"/>
            <p14:sldId id="2147477623"/>
            <p14:sldId id="2147477624"/>
            <p14:sldId id="2147477625"/>
            <p14:sldId id="2147477626"/>
            <p14:sldId id="2147477627"/>
            <p14:sldId id="2147477628"/>
            <p14:sldId id="2147477629"/>
            <p14:sldId id="2147477630"/>
          </p14:sldIdLst>
        </p14:section>
        <p14:section name="Sectors Share and Growth By Brands" id="{450FB0CC-AEB8-4EBF-9085-59019BDB0DF2}">
          <p14:sldIdLst>
            <p14:sldId id="2147477631"/>
          </p14:sldIdLst>
        </p14:section>
        <p14:section name="Segments Share and Growth By Brands" id="{A734CBE6-2A3A-470A-AEF8-7B8C5C5B1FE6}">
          <p14:sldIdLst>
            <p14:sldId id="2147477632"/>
          </p14:sldIdLst>
        </p14:section>
        <p14:section name="SubSegments Share and Growth By Brands" id="{EFE49F25-387E-4410-99C5-77532C645380}">
          <p14:sldIdLst>
            <p14:sldId id="2147477633"/>
          </p14:sldIdLst>
        </p14:section>
        <p14:section name="SubCategory Share and Growth By Brands" id="{2574C860-263D-47C5-BF7E-B81C1F65259E}">
          <p14:sldIdLst>
            <p14:sldId id="2147477634"/>
          </p14:sldIdLst>
        </p14:section>
        <p14:section name="Sectors Share and Growth By Manufacturer" id="{EC8CE0C9-7730-4FF6-AE81-FD0CFADA245D}">
          <p14:sldIdLst>
            <p14:sldId id="2147477635"/>
          </p14:sldIdLst>
        </p14:section>
        <p14:section name="Segments Share and Growth By Manufacturer" id="{4BBDEF1A-827C-48E3-B7BF-75E541ED6147}">
          <p14:sldIdLst>
            <p14:sldId id="2147477636"/>
          </p14:sldIdLst>
        </p14:section>
        <p14:section name="SubSegments Share and Growth By Manufacturer" id="{BAFF7D79-9FB2-4EB7-85F9-424C1FA0632F}">
          <p14:sldIdLst>
            <p14:sldId id="2147477637"/>
          </p14:sldIdLst>
        </p14:section>
        <p14:section name="SubCategory Share and Growth By Manufacturer" id="{58D53796-27DE-4705-A36B-66F7836408E6}">
          <p14:sldIdLst>
            <p14:sldId id="2147477638"/>
          </p14:sldIdLst>
        </p14:section>
        <p14:section name="Sec/Seg Value Sales Vs Avg Price By Manufacturer" id="{AFD5055F-A27D-4383-ADA2-FEA2667D2FC4}">
          <p14:sldIdLst>
            <p14:sldId id="2147477639"/>
            <p14:sldId id="2147477640"/>
            <p14:sldId id="2147477641"/>
            <p14:sldId id="2147477642"/>
            <p14:sldId id="2147477643"/>
            <p14:sldId id="2147477644"/>
            <p14:sldId id="2147477645"/>
          </p14:sldIdLst>
        </p14:section>
        <p14:section name="Sec/Seg Value Sales Vs Avg Price" id="{90BF9BE5-5F5D-4BDC-8ABA-389D1581DD67}">
          <p14:sldIdLst>
            <p14:sldId id="2147477646"/>
            <p14:sldId id="2147477647"/>
            <p14:sldId id="2147477648"/>
            <p14:sldId id="2147477649"/>
            <p14:sldId id="2147477650"/>
            <p14:sldId id="2147477651"/>
            <p14:sldId id="2147477652"/>
            <p14:sldId id="2147477653"/>
            <p14:sldId id="2147477654"/>
            <p14:sldId id="2147477655"/>
            <p14:sldId id="2147477656"/>
            <p14:sldId id="2147477657"/>
            <p14:sldId id="2147477658"/>
            <p14:sldId id="2147477659"/>
            <p14:sldId id="2147477660"/>
            <p14:sldId id="2147477661"/>
            <p14:sldId id="2147477662"/>
            <p14:sldId id="2147477663"/>
            <p14:sldId id="2147477664"/>
            <p14:sldId id="2147477665"/>
            <p14:sldId id="2147477666"/>
          </p14:sldIdLst>
        </p14:section>
        <p14:section name="Seg/SubSeg Value Sales Vs Avg Price By Manufacturer" id="{0E11DBBA-0949-4371-B2AC-F8CC50A9B147}">
          <p14:sldIdLst>
            <p14:sldId id="2147477667"/>
            <p14:sldId id="2147477668"/>
            <p14:sldId id="2147477669"/>
            <p14:sldId id="2147477670"/>
            <p14:sldId id="2147477671"/>
            <p14:sldId id="2147477672"/>
            <p14:sldId id="2147477673"/>
          </p14:sldIdLst>
        </p14:section>
        <p14:section name="Seg/SubSeg Value Sales Vs Avg Price" id="{B2444E2F-BA57-4D76-8834-8878FFF7A327}">
          <p14:sldIdLst>
            <p14:sldId id="2147477674"/>
            <p14:sldId id="2147477675"/>
            <p14:sldId id="2147477676"/>
            <p14:sldId id="2147477677"/>
            <p14:sldId id="2147477678"/>
            <p14:sldId id="2147477679"/>
            <p14:sldId id="2147477680"/>
            <p14:sldId id="2147477681"/>
            <p14:sldId id="2147477682"/>
            <p14:sldId id="2147477683"/>
            <p14:sldId id="2147477684"/>
            <p14:sldId id="2147477685"/>
            <p14:sldId id="2147477686"/>
            <p14:sldId id="2147477687"/>
            <p14:sldId id="2147477688"/>
            <p14:sldId id="2147477689"/>
            <p14:sldId id="2147477690"/>
            <p14:sldId id="2147477691"/>
            <p14:sldId id="2147477692"/>
            <p14:sldId id="2147477693"/>
            <p14:sldId id="2147477694"/>
          </p14:sldIdLst>
        </p14:section>
        <p14:section name="Seg/SubCatg Value Sales Vs Avg Price By Manufacturer" id="{879A2CFB-75EF-4DCA-9A85-E587950471EE}">
          <p14:sldIdLst>
            <p14:sldId id="2147477695"/>
            <p14:sldId id="2147477696"/>
            <p14:sldId id="2147477697"/>
            <p14:sldId id="2147477698"/>
            <p14:sldId id="2147477699"/>
            <p14:sldId id="2147477700"/>
            <p14:sldId id="2147477701"/>
          </p14:sldIdLst>
        </p14:section>
        <p14:section name="Seg/SubCatg Value Sales Vs Avg Price" id="{ED49D2FE-228C-4663-9A35-1AB1CA62CC14}">
          <p14:sldIdLst>
            <p14:sldId id="2147477702"/>
            <p14:sldId id="2147477703"/>
            <p14:sldId id="2147477704"/>
            <p14:sldId id="2147477705"/>
            <p14:sldId id="2147477706"/>
            <p14:sldId id="2147477707"/>
            <p14:sldId id="2147477708"/>
            <p14:sldId id="2147477709"/>
            <p14:sldId id="2147477710"/>
            <p14:sldId id="2147477711"/>
            <p14:sldId id="2147477712"/>
            <p14:sldId id="2147477713"/>
            <p14:sldId id="2147477714"/>
            <p14:sldId id="2147477715"/>
            <p14:sldId id="2147477716"/>
            <p14:sldId id="2147477717"/>
            <p14:sldId id="2147477718"/>
            <p14:sldId id="2147477719"/>
            <p14:sldId id="2147477720"/>
            <p14:sldId id="2147477721"/>
            <p14:sldId id="2147477722"/>
          </p14:sldIdLst>
        </p14:section>
        <p14:section name="Sectors Value Sales Vs Avg Price" id="{71288D2C-FADC-463B-93ED-4D220C7D9498}">
          <p14:sldIdLst>
            <p14:sldId id="2147477723"/>
            <p14:sldId id="2147477724"/>
            <p14:sldId id="2147477725"/>
            <p14:sldId id="2147477726"/>
            <p14:sldId id="2147477727"/>
            <p14:sldId id="2147477728"/>
            <p14:sldId id="2147477729"/>
            <p14:sldId id="2147477730"/>
            <p14:sldId id="2147477731"/>
            <p14:sldId id="2147477732"/>
            <p14:sldId id="2147477733"/>
            <p14:sldId id="2147477734"/>
            <p14:sldId id="2147477735"/>
            <p14:sldId id="2147477736"/>
            <p14:sldId id="2147477737"/>
            <p14:sldId id="2147477738"/>
            <p14:sldId id="2147477739"/>
            <p14:sldId id="2147477740"/>
            <p14:sldId id="2147477741"/>
            <p14:sldId id="2147477742"/>
            <p14:sldId id="2147477743"/>
          </p14:sldIdLst>
        </p14:section>
        <p14:section name="Segment Value Sales Vs Avg Price" id="{F30F20EF-25E2-4858-8246-689278C9F0B0}">
          <p14:sldIdLst>
            <p14:sldId id="2147477744"/>
            <p14:sldId id="2147477745"/>
            <p14:sldId id="2147477746"/>
            <p14:sldId id="2147477747"/>
            <p14:sldId id="2147477748"/>
            <p14:sldId id="2147477749"/>
            <p14:sldId id="2147477750"/>
            <p14:sldId id="2147477751"/>
            <p14:sldId id="2147477752"/>
            <p14:sldId id="2147477753"/>
            <p14:sldId id="2147477754"/>
            <p14:sldId id="2147477755"/>
            <p14:sldId id="2147477756"/>
            <p14:sldId id="2147477757"/>
            <p14:sldId id="2147477758"/>
            <p14:sldId id="2147477759"/>
            <p14:sldId id="2147477760"/>
            <p14:sldId id="2147477761"/>
            <p14:sldId id="2147477762"/>
            <p14:sldId id="2147477763"/>
            <p14:sldId id="2147477764"/>
          </p14:sldIdLst>
        </p14:section>
        <p14:section name="SubSegment Value Sales Vs Avg Price" id="{054A000F-9258-44CA-AB3E-3E145CB6D72F}">
          <p14:sldIdLst>
            <p14:sldId id="2147477765"/>
            <p14:sldId id="2147477766"/>
            <p14:sldId id="2147477767"/>
            <p14:sldId id="2147477768"/>
            <p14:sldId id="2147477769"/>
            <p14:sldId id="2147477770"/>
            <p14:sldId id="2147477771"/>
            <p14:sldId id="2147477772"/>
            <p14:sldId id="2147477773"/>
            <p14:sldId id="2147477774"/>
            <p14:sldId id="2147477775"/>
            <p14:sldId id="2147477776"/>
            <p14:sldId id="2147477777"/>
            <p14:sldId id="2147477778"/>
            <p14:sldId id="2147477779"/>
            <p14:sldId id="2147477780"/>
            <p14:sldId id="2147477781"/>
            <p14:sldId id="2147477782"/>
            <p14:sldId id="2147477783"/>
            <p14:sldId id="2147477784"/>
            <p14:sldId id="2147477785"/>
          </p14:sldIdLst>
        </p14:section>
        <p14:section name="SubCategory Value Sales Vs Avg Price" id="{05897301-0A8A-4E34-BAFB-D5FF659BF1AD}">
          <p14:sldIdLst>
            <p14:sldId id="2147477786"/>
            <p14:sldId id="2147477787"/>
            <p14:sldId id="2147477788"/>
            <p14:sldId id="2147477789"/>
            <p14:sldId id="2147477790"/>
            <p14:sldId id="2147477791"/>
            <p14:sldId id="2147477792"/>
            <p14:sldId id="2147477793"/>
            <p14:sldId id="2147477794"/>
            <p14:sldId id="2147477795"/>
            <p14:sldId id="2147477796"/>
            <p14:sldId id="2147477797"/>
            <p14:sldId id="2147477798"/>
            <p14:sldId id="2147477799"/>
            <p14:sldId id="2147477800"/>
            <p14:sldId id="2147477801"/>
            <p14:sldId id="2147477802"/>
            <p14:sldId id="2147477803"/>
            <p14:sldId id="2147477804"/>
            <p14:sldId id="2147477805"/>
            <p14:sldId id="214747780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slide" Target="slides/slide242.xml"/><Relationship Id="rId247" Type="http://schemas.openxmlformats.org/officeDocument/2006/relationships/slide" Target="slides/slide243.xml"/><Relationship Id="rId248" Type="http://schemas.openxmlformats.org/officeDocument/2006/relationships/slide" Target="slides/slide244.xml"/><Relationship Id="rId249" Type="http://schemas.openxmlformats.org/officeDocument/2006/relationships/slide" Target="slides/slide245.xml"/><Relationship Id="rId250" Type="http://schemas.openxmlformats.org/officeDocument/2006/relationships/slide" Target="slides/slide246.xml"/><Relationship Id="rId251" Type="http://schemas.openxmlformats.org/officeDocument/2006/relationships/slide" Target="slides/slide247.xml"/><Relationship Id="rId252" Type="http://schemas.openxmlformats.org/officeDocument/2006/relationships/slide" Target="slides/slide248.xml"/><Relationship Id="rId253" Type="http://schemas.openxmlformats.org/officeDocument/2006/relationships/slide" Target="slides/slide249.xml"/><Relationship Id="rId254" Type="http://schemas.openxmlformats.org/officeDocument/2006/relationships/slide" Target="slides/slide250.xml"/><Relationship Id="rId255" Type="http://schemas.openxmlformats.org/officeDocument/2006/relationships/slide" Target="slides/slide251.xml"/><Relationship Id="rId256" Type="http://schemas.openxmlformats.org/officeDocument/2006/relationships/slide" Target="slides/slide252.xml"/><Relationship Id="rId257" Type="http://schemas.openxmlformats.org/officeDocument/2006/relationships/slide" Target="slides/slide253.xml"/><Relationship Id="rId258" Type="http://schemas.openxmlformats.org/officeDocument/2006/relationships/slide" Target="slides/slide254.xml"/><Relationship Id="rId259" Type="http://schemas.openxmlformats.org/officeDocument/2006/relationships/slide" Target="slides/slide255.xml"/><Relationship Id="rId260" Type="http://schemas.openxmlformats.org/officeDocument/2006/relationships/slide" Target="slides/slide256.xml"/><Relationship Id="rId261" Type="http://schemas.openxmlformats.org/officeDocument/2006/relationships/slide" Target="slides/slide257.xml"/><Relationship Id="rId262" Type="http://schemas.openxmlformats.org/officeDocument/2006/relationships/slide" Target="slides/slide258.xml"/><Relationship Id="rId263" Type="http://schemas.openxmlformats.org/officeDocument/2006/relationships/slide" Target="slides/slide259.xml"/><Relationship Id="rId264" Type="http://schemas.openxmlformats.org/officeDocument/2006/relationships/slide" Target="slides/slide260.xml"/><Relationship Id="rId265" Type="http://schemas.openxmlformats.org/officeDocument/2006/relationships/slide" Target="slides/slide261.xml"/><Relationship Id="rId266" Type="http://schemas.openxmlformats.org/officeDocument/2006/relationships/slide" Target="slides/slide262.xml"/><Relationship Id="rId267" Type="http://schemas.openxmlformats.org/officeDocument/2006/relationships/slide" Target="slides/slide263.xml"/><Relationship Id="rId268" Type="http://schemas.openxmlformats.org/officeDocument/2006/relationships/slide" Target="slides/slide264.xml"/><Relationship Id="rId269" Type="http://schemas.openxmlformats.org/officeDocument/2006/relationships/slide" Target="slides/slide265.xml"/><Relationship Id="rId270" Type="http://schemas.openxmlformats.org/officeDocument/2006/relationships/slide" Target="slides/slide266.xml"/><Relationship Id="rId271" Type="http://schemas.openxmlformats.org/officeDocument/2006/relationships/slide" Target="slides/slide267.xml"/><Relationship Id="rId272" Type="http://schemas.openxmlformats.org/officeDocument/2006/relationships/slide" Target="slides/slide268.xml"/><Relationship Id="rId273" Type="http://schemas.openxmlformats.org/officeDocument/2006/relationships/slide" Target="slides/slide269.xml"/><Relationship Id="rId274" Type="http://schemas.openxmlformats.org/officeDocument/2006/relationships/slide" Target="slides/slide270.xml"/><Relationship Id="rId275" Type="http://schemas.openxmlformats.org/officeDocument/2006/relationships/slide" Target="slides/slide271.xml"/><Relationship Id="rId276" Type="http://schemas.openxmlformats.org/officeDocument/2006/relationships/slide" Target="slides/slide272.xml"/><Relationship Id="rId277" Type="http://schemas.openxmlformats.org/officeDocument/2006/relationships/slide" Target="slides/slide273.xml"/><Relationship Id="rId278" Type="http://schemas.openxmlformats.org/officeDocument/2006/relationships/slide" Target="slides/slide274.xml"/><Relationship Id="rId279" Type="http://schemas.openxmlformats.org/officeDocument/2006/relationships/slide" Target="slides/slide275.xml"/><Relationship Id="rId280" Type="http://schemas.openxmlformats.org/officeDocument/2006/relationships/slide" Target="slides/slide276.xml"/><Relationship Id="rId281" Type="http://schemas.openxmlformats.org/officeDocument/2006/relationships/slide" Target="slides/slide277.xml"/><Relationship Id="rId282" Type="http://schemas.openxmlformats.org/officeDocument/2006/relationships/slide" Target="slides/slide278.xml"/><Relationship Id="rId283" Type="http://schemas.openxmlformats.org/officeDocument/2006/relationships/slide" Target="slides/slide279.xml"/><Relationship Id="rId284" Type="http://schemas.openxmlformats.org/officeDocument/2006/relationships/slide" Target="slides/slide280.xml"/><Relationship Id="rId285" Type="http://schemas.openxmlformats.org/officeDocument/2006/relationships/slide" Target="slides/slide281.xml"/><Relationship Id="rId286" Type="http://schemas.openxmlformats.org/officeDocument/2006/relationships/slide" Target="slides/slide282.xml"/><Relationship Id="rId287" Type="http://schemas.openxmlformats.org/officeDocument/2006/relationships/slide" Target="slides/slide283.xml"/><Relationship Id="rId288" Type="http://schemas.openxmlformats.org/officeDocument/2006/relationships/slide" Target="slides/slide284.xml"/><Relationship Id="rId289" Type="http://schemas.openxmlformats.org/officeDocument/2006/relationships/slide" Target="slides/slide285.xml"/><Relationship Id="rId290" Type="http://schemas.openxmlformats.org/officeDocument/2006/relationships/slide" Target="slides/slide286.xml"/><Relationship Id="rId291" Type="http://schemas.openxmlformats.org/officeDocument/2006/relationships/slide" Target="slides/slide287.xml"/><Relationship Id="rId292" Type="http://schemas.openxmlformats.org/officeDocument/2006/relationships/slide" Target="slides/slide288.xml"/><Relationship Id="rId293" Type="http://schemas.openxmlformats.org/officeDocument/2006/relationships/slide" Target="slides/slide289.xml"/><Relationship Id="rId294" Type="http://schemas.openxmlformats.org/officeDocument/2006/relationships/slide" Target="slides/slide290.xml"/><Relationship Id="rId295" Type="http://schemas.openxmlformats.org/officeDocument/2006/relationships/slide" Target="slides/slide291.xml"/><Relationship Id="rId296" Type="http://schemas.openxmlformats.org/officeDocument/2006/relationships/slide" Target="slides/slide292.xml"/><Relationship Id="rId297" Type="http://schemas.openxmlformats.org/officeDocument/2006/relationships/slide" Target="slides/slide293.xml"/><Relationship Id="rId298" Type="http://schemas.openxmlformats.org/officeDocument/2006/relationships/slide" Target="slides/slide294.xml"/><Relationship Id="rId299" Type="http://schemas.openxmlformats.org/officeDocument/2006/relationships/slide" Target="slides/slide295.xml"/><Relationship Id="rId300" Type="http://schemas.openxmlformats.org/officeDocument/2006/relationships/slide" Target="slides/slide296.xml"/><Relationship Id="rId301" Type="http://schemas.openxmlformats.org/officeDocument/2006/relationships/slide" Target="slides/slide297.xml"/><Relationship Id="rId302" Type="http://schemas.openxmlformats.org/officeDocument/2006/relationships/slide" Target="slides/slide298.xml"/><Relationship Id="rId303" Type="http://schemas.openxmlformats.org/officeDocument/2006/relationships/slide" Target="slides/slide299.xml"/><Relationship Id="rId304" Type="http://schemas.openxmlformats.org/officeDocument/2006/relationships/slide" Target="slides/slide300.xml"/><Relationship Id="rId305" Type="http://schemas.openxmlformats.org/officeDocument/2006/relationships/slide" Target="slides/slide301.xml"/><Relationship Id="rId306" Type="http://schemas.openxmlformats.org/officeDocument/2006/relationships/slide" Target="slides/slide302.xml"/><Relationship Id="rId307" Type="http://schemas.openxmlformats.org/officeDocument/2006/relationships/slide" Target="slides/slide303.xml"/><Relationship Id="rId308" Type="http://schemas.openxmlformats.org/officeDocument/2006/relationships/slide" Target="slides/slide304.xml"/><Relationship Id="rId309" Type="http://schemas.openxmlformats.org/officeDocument/2006/relationships/slide" Target="slides/slide305.xml"/><Relationship Id="rId310" Type="http://schemas.openxmlformats.org/officeDocument/2006/relationships/slide" Target="slides/slide306.xml"/><Relationship Id="rId311" Type="http://schemas.openxmlformats.org/officeDocument/2006/relationships/slide" Target="slides/slide307.xml"/><Relationship Id="rId312" Type="http://schemas.openxmlformats.org/officeDocument/2006/relationships/slide" Target="slides/slide308.xml"/><Relationship Id="rId313" Type="http://schemas.openxmlformats.org/officeDocument/2006/relationships/slide" Target="slides/slide309.xml"/><Relationship Id="rId314" Type="http://schemas.openxmlformats.org/officeDocument/2006/relationships/slide" Target="slides/slide310.xml"/><Relationship Id="rId315" Type="http://schemas.openxmlformats.org/officeDocument/2006/relationships/slide" Target="slides/slide311.xml"/><Relationship Id="rId316" Type="http://schemas.openxmlformats.org/officeDocument/2006/relationships/slide" Target="slides/slide312.xml"/><Relationship Id="rId317" Type="http://schemas.openxmlformats.org/officeDocument/2006/relationships/slide" Target="slides/slide313.xml"/><Relationship Id="rId318" Type="http://schemas.openxmlformats.org/officeDocument/2006/relationships/slide" Target="slides/slide314.xml"/><Relationship Id="rId319" Type="http://schemas.openxmlformats.org/officeDocument/2006/relationships/slide" Target="slides/slide315.xml"/><Relationship Id="rId320" Type="http://schemas.openxmlformats.org/officeDocument/2006/relationships/slide" Target="slides/slide316.xml"/><Relationship Id="rId321" Type="http://schemas.openxmlformats.org/officeDocument/2006/relationships/slide" Target="slides/slide317.xml"/><Relationship Id="rId322" Type="http://schemas.openxmlformats.org/officeDocument/2006/relationships/slide" Target="slides/slide318.xml"/><Relationship Id="rId323" Type="http://schemas.openxmlformats.org/officeDocument/2006/relationships/slide" Target="slides/slide319.xml"/><Relationship Id="rId324" Type="http://schemas.openxmlformats.org/officeDocument/2006/relationships/slide" Target="slides/slide320.xml"/><Relationship Id="rId325" Type="http://schemas.openxmlformats.org/officeDocument/2006/relationships/slide" Target="slides/slide321.xml"/><Relationship Id="rId326" Type="http://schemas.openxmlformats.org/officeDocument/2006/relationships/slide" Target="slides/slide322.xml"/><Relationship Id="rId327" Type="http://schemas.openxmlformats.org/officeDocument/2006/relationships/slide" Target="slides/slide323.xml"/><Relationship Id="rId328" Type="http://schemas.openxmlformats.org/officeDocument/2006/relationships/slide" Target="slides/slide324.xml"/><Relationship Id="rId329" Type="http://schemas.openxmlformats.org/officeDocument/2006/relationships/slide" Target="slides/slide325.xml"/><Relationship Id="rId330" Type="http://schemas.openxmlformats.org/officeDocument/2006/relationships/slide" Target="slides/slide326.xml"/><Relationship Id="rId331" Type="http://schemas.openxmlformats.org/officeDocument/2006/relationships/slide" Target="slides/slide327.xml"/><Relationship Id="rId332" Type="http://schemas.openxmlformats.org/officeDocument/2006/relationships/slide" Target="slides/slide328.xml"/><Relationship Id="rId333" Type="http://schemas.openxmlformats.org/officeDocument/2006/relationships/slide" Target="slides/slide329.xml"/><Relationship Id="rId334" Type="http://schemas.openxmlformats.org/officeDocument/2006/relationships/slide" Target="slides/slide330.xml"/><Relationship Id="rId335" Type="http://schemas.openxmlformats.org/officeDocument/2006/relationships/slide" Target="slides/slide331.xml"/><Relationship Id="rId336" Type="http://schemas.openxmlformats.org/officeDocument/2006/relationships/slide" Target="slides/slide332.xml"/><Relationship Id="rId337" Type="http://schemas.openxmlformats.org/officeDocument/2006/relationships/slide" Target="slides/slide333.xml"/><Relationship Id="rId338" Type="http://schemas.openxmlformats.org/officeDocument/2006/relationships/slide" Target="slides/slide334.xml"/><Relationship Id="rId339" Type="http://schemas.openxmlformats.org/officeDocument/2006/relationships/slide" Target="slides/slide335.xml"/><Relationship Id="rId340" Type="http://schemas.openxmlformats.org/officeDocument/2006/relationships/slide" Target="slides/slide336.xml"/><Relationship Id="rId341" Type="http://schemas.openxmlformats.org/officeDocument/2006/relationships/slide" Target="slides/slide337.xml"/><Relationship Id="rId342" Type="http://schemas.openxmlformats.org/officeDocument/2006/relationships/slide" Target="slides/slide338.xml"/><Relationship Id="rId343" Type="http://schemas.openxmlformats.org/officeDocument/2006/relationships/slide" Target="slides/slide339.xml"/><Relationship Id="rId344" Type="http://schemas.openxmlformats.org/officeDocument/2006/relationships/slide" Target="slides/slide340.xml"/><Relationship Id="rId345" Type="http://schemas.openxmlformats.org/officeDocument/2006/relationships/slide" Target="slides/slide341.xml"/><Relationship Id="rId346" Type="http://schemas.openxmlformats.org/officeDocument/2006/relationships/slide" Target="slides/slide342.xml"/><Relationship Id="rId347" Type="http://schemas.openxmlformats.org/officeDocument/2006/relationships/slide" Target="slides/slide343.xml"/><Relationship Id="rId348" Type="http://schemas.openxmlformats.org/officeDocument/2006/relationships/slide" Target="slides/slide344.xml"/><Relationship Id="rId349" Type="http://schemas.openxmlformats.org/officeDocument/2006/relationships/slide" Target="slides/slide345.xml"/><Relationship Id="rId350" Type="http://schemas.openxmlformats.org/officeDocument/2006/relationships/slide" Target="slides/slide346.xml"/><Relationship Id="rId351" Type="http://schemas.openxmlformats.org/officeDocument/2006/relationships/slide" Target="slides/slide347.xml"/><Relationship Id="rId352" Type="http://schemas.openxmlformats.org/officeDocument/2006/relationships/slide" Target="slides/slide348.xml"/><Relationship Id="rId353" Type="http://schemas.openxmlformats.org/officeDocument/2006/relationships/slide" Target="slides/slide349.xml"/><Relationship Id="rId354" Type="http://schemas.openxmlformats.org/officeDocument/2006/relationships/slide" Target="slides/slide350.xml"/><Relationship Id="rId355" Type="http://schemas.openxmlformats.org/officeDocument/2006/relationships/slide" Target="slides/slide351.xml"/><Relationship Id="rId356" Type="http://schemas.openxmlformats.org/officeDocument/2006/relationships/slide" Target="slides/slide352.xml"/><Relationship Id="rId357" Type="http://schemas.openxmlformats.org/officeDocument/2006/relationships/slide" Target="slides/slide353.xml"/><Relationship Id="rId358" Type="http://schemas.openxmlformats.org/officeDocument/2006/relationships/slide" Target="slides/slide354.xml"/><Relationship Id="rId359" Type="http://schemas.openxmlformats.org/officeDocument/2006/relationships/slide" Target="slides/slide355.xml"/><Relationship Id="rId360" Type="http://schemas.openxmlformats.org/officeDocument/2006/relationships/slide" Target="slides/slide356.xml"/><Relationship Id="rId361" Type="http://schemas.openxmlformats.org/officeDocument/2006/relationships/slide" Target="slides/slide357.xml"/><Relationship Id="rId362" Type="http://schemas.openxmlformats.org/officeDocument/2006/relationships/slide" Target="slides/slide358.xml"/><Relationship Id="rId363" Type="http://schemas.openxmlformats.org/officeDocument/2006/relationships/slide" Target="slides/slide359.xml"/><Relationship Id="rId364" Type="http://schemas.openxmlformats.org/officeDocument/2006/relationships/slide" Target="slides/slide360.xml"/><Relationship Id="rId365" Type="http://schemas.openxmlformats.org/officeDocument/2006/relationships/slide" Target="slides/slide361.xml"/><Relationship Id="rId366" Type="http://schemas.openxmlformats.org/officeDocument/2006/relationships/slide" Target="slides/slide362.xml"/><Relationship Id="rId367" Type="http://schemas.openxmlformats.org/officeDocument/2006/relationships/slide" Target="slides/slide363.xml"/><Relationship Id="rId368" Type="http://schemas.openxmlformats.org/officeDocument/2006/relationships/slide" Target="slides/slide364.xml"/><Relationship Id="rId369" Type="http://schemas.openxmlformats.org/officeDocument/2006/relationships/slide" Target="slides/slide365.xml"/><Relationship Id="rId370" Type="http://schemas.openxmlformats.org/officeDocument/2006/relationships/slide" Target="slides/slide366.xml"/><Relationship Id="rId371" Type="http://schemas.openxmlformats.org/officeDocument/2006/relationships/slide" Target="slides/slide367.xml"/><Relationship Id="rId372" Type="http://schemas.openxmlformats.org/officeDocument/2006/relationships/slide" Target="slides/slide368.xml"/><Relationship Id="rId373" Type="http://schemas.openxmlformats.org/officeDocument/2006/relationships/slide" Target="slides/slide369.xml"/><Relationship Id="rId374" Type="http://schemas.openxmlformats.org/officeDocument/2006/relationships/slide" Target="slides/slide370.xml"/><Relationship Id="rId375" Type="http://schemas.openxmlformats.org/officeDocument/2006/relationships/slide" Target="slides/slide371.xml"/><Relationship Id="rId376" Type="http://schemas.openxmlformats.org/officeDocument/2006/relationships/slide" Target="slides/slide372.xml"/><Relationship Id="rId377" Type="http://schemas.openxmlformats.org/officeDocument/2006/relationships/slide" Target="slides/slide373.xml"/><Relationship Id="rId378" Type="http://schemas.openxmlformats.org/officeDocument/2006/relationships/slide" Target="slides/slide374.xml"/><Relationship Id="rId379" Type="http://schemas.openxmlformats.org/officeDocument/2006/relationships/slide" Target="slides/slide375.xml"/><Relationship Id="rId380" Type="http://schemas.openxmlformats.org/officeDocument/2006/relationships/slide" Target="slides/slide376.xml"/><Relationship Id="rId381" Type="http://schemas.openxmlformats.org/officeDocument/2006/relationships/slide" Target="slides/slide377.xml"/><Relationship Id="rId382" Type="http://schemas.openxmlformats.org/officeDocument/2006/relationships/slide" Target="slides/slide378.xml"/><Relationship Id="rId383" Type="http://schemas.openxmlformats.org/officeDocument/2006/relationships/slide" Target="slides/slide379.xml"/><Relationship Id="rId384" Type="http://schemas.openxmlformats.org/officeDocument/2006/relationships/slide" Target="slides/slide380.xml"/><Relationship Id="rId385" Type="http://schemas.openxmlformats.org/officeDocument/2006/relationships/slide" Target="slides/slide381.xml"/><Relationship Id="rId386" Type="http://schemas.openxmlformats.org/officeDocument/2006/relationships/slide" Target="slides/slide382.xml"/><Relationship Id="rId387" Type="http://schemas.openxmlformats.org/officeDocument/2006/relationships/slide" Target="slides/slide383.xml"/><Relationship Id="rId388" Type="http://schemas.openxmlformats.org/officeDocument/2006/relationships/slide" Target="slides/slide384.xml"/><Relationship Id="rId389" Type="http://schemas.openxmlformats.org/officeDocument/2006/relationships/slide" Target="slides/slide385.xml"/><Relationship Id="rId390" Type="http://schemas.openxmlformats.org/officeDocument/2006/relationships/slide" Target="slides/slide386.xml"/><Relationship Id="rId391" Type="http://schemas.openxmlformats.org/officeDocument/2006/relationships/slide" Target="slides/slide387.xml"/><Relationship Id="rId392" Type="http://schemas.openxmlformats.org/officeDocument/2006/relationships/slide" Target="slides/slide388.xml"/><Relationship Id="rId393" Type="http://schemas.openxmlformats.org/officeDocument/2006/relationships/slide" Target="slides/slide389.xml"/><Relationship Id="rId394" Type="http://schemas.openxmlformats.org/officeDocument/2006/relationships/slide" Target="slides/slide390.xml"/><Relationship Id="rId395" Type="http://schemas.openxmlformats.org/officeDocument/2006/relationships/slide" Target="slides/slide391.xml"/><Relationship Id="rId396" Type="http://schemas.openxmlformats.org/officeDocument/2006/relationships/slide" Target="slides/slide392.xml"/><Relationship Id="rId397" Type="http://schemas.openxmlformats.org/officeDocument/2006/relationships/slide" Target="slides/slide393.xml"/><Relationship Id="rId398" Type="http://schemas.openxmlformats.org/officeDocument/2006/relationships/slide" Target="slides/slide394.xml"/><Relationship Id="rId399" Type="http://schemas.openxmlformats.org/officeDocument/2006/relationships/slide" Target="slides/slide395.xml"/><Relationship Id="rId400" Type="http://schemas.openxmlformats.org/officeDocument/2006/relationships/slide" Target="slides/slide396.xml"/><Relationship Id="rId401" Type="http://schemas.openxmlformats.org/officeDocument/2006/relationships/slide" Target="slides/slide397.xml"/><Relationship Id="rId402" Type="http://schemas.openxmlformats.org/officeDocument/2006/relationships/slide" Target="slides/slide398.xml"/><Relationship Id="rId403" Type="http://schemas.openxmlformats.org/officeDocument/2006/relationships/slide" Target="slides/slide399.xml"/><Relationship Id="rId404" Type="http://schemas.openxmlformats.org/officeDocument/2006/relationships/slide" Target="slides/slide400.xml"/><Relationship Id="rId405" Type="http://schemas.openxmlformats.org/officeDocument/2006/relationships/slide" Target="slides/slide401.xml"/><Relationship Id="rId406" Type="http://schemas.openxmlformats.org/officeDocument/2006/relationships/slide" Target="slides/slide402.xml"/><Relationship Id="rId407" Type="http://schemas.openxmlformats.org/officeDocument/2006/relationships/slide" Target="slides/slide403.xml"/><Relationship Id="rId408" Type="http://schemas.openxmlformats.org/officeDocument/2006/relationships/slide" Target="slides/slide404.xml"/><Relationship Id="rId409" Type="http://schemas.openxmlformats.org/officeDocument/2006/relationships/slide" Target="slides/slide405.xml"/><Relationship Id="rId410" Type="http://schemas.openxmlformats.org/officeDocument/2006/relationships/slide" Target="slides/slide406.xml"/><Relationship Id="rId411" Type="http://schemas.openxmlformats.org/officeDocument/2006/relationships/slide" Target="slides/slide407.xml"/><Relationship Id="rId412" Type="http://schemas.openxmlformats.org/officeDocument/2006/relationships/slide" Target="slides/slide408.xml"/><Relationship Id="rId413" Type="http://schemas.openxmlformats.org/officeDocument/2006/relationships/slide" Target="slides/slide409.xml"/><Relationship Id="rId414" Type="http://schemas.openxmlformats.org/officeDocument/2006/relationships/slide" Target="slides/slide410.xml"/><Relationship Id="rId415" Type="http://schemas.openxmlformats.org/officeDocument/2006/relationships/slide" Target="slides/slide411.xml"/><Relationship Id="rId416" Type="http://schemas.openxmlformats.org/officeDocument/2006/relationships/slide" Target="slides/slide412.xml"/><Relationship Id="rId417" Type="http://schemas.openxmlformats.org/officeDocument/2006/relationships/slide" Target="slides/slide413.xml"/><Relationship Id="rId418" Type="http://schemas.openxmlformats.org/officeDocument/2006/relationships/slide" Target="slides/slide414.xml"/><Relationship Id="rId419" Type="http://schemas.openxmlformats.org/officeDocument/2006/relationships/slide" Target="slides/slide415.xml"/><Relationship Id="rId420" Type="http://schemas.openxmlformats.org/officeDocument/2006/relationships/slide" Target="slides/slide416.xml"/><Relationship Id="rId421" Type="http://schemas.openxmlformats.org/officeDocument/2006/relationships/slide" Target="slides/slide417.xml"/><Relationship Id="rId422" Type="http://schemas.openxmlformats.org/officeDocument/2006/relationships/slide" Target="slides/slide418.xml"/><Relationship Id="rId423" Type="http://schemas.openxmlformats.org/officeDocument/2006/relationships/slide" Target="slides/slide419.xml"/><Relationship Id="rId424" Type="http://schemas.openxmlformats.org/officeDocument/2006/relationships/slide" Target="slides/slide420.xml"/><Relationship Id="rId425" Type="http://schemas.openxmlformats.org/officeDocument/2006/relationships/slide" Target="slides/slide421.xml"/><Relationship Id="rId426" Type="http://schemas.openxmlformats.org/officeDocument/2006/relationships/slide" Target="slides/slide422.xml"/><Relationship Id="rId427" Type="http://schemas.openxmlformats.org/officeDocument/2006/relationships/slide" Target="slides/slide423.xml"/><Relationship Id="rId428" Type="http://schemas.openxmlformats.org/officeDocument/2006/relationships/slide" Target="slides/slide424.xml"/><Relationship Id="rId429" Type="http://schemas.openxmlformats.org/officeDocument/2006/relationships/slide" Target="slides/slide425.xml"/><Relationship Id="rId430" Type="http://schemas.openxmlformats.org/officeDocument/2006/relationships/slide" Target="slides/slide426.xml"/><Relationship Id="rId431" Type="http://schemas.openxmlformats.org/officeDocument/2006/relationships/slide" Target="slides/slide427.xml"/><Relationship Id="rId432" Type="http://schemas.openxmlformats.org/officeDocument/2006/relationships/slide" Target="slides/slide428.xml"/><Relationship Id="rId433" Type="http://schemas.openxmlformats.org/officeDocument/2006/relationships/slide" Target="slides/slide429.xml"/><Relationship Id="rId434" Type="http://schemas.openxmlformats.org/officeDocument/2006/relationships/slide" Target="slides/slide430.xml"/><Relationship Id="rId435" Type="http://schemas.openxmlformats.org/officeDocument/2006/relationships/slide" Target="slides/slide431.xml"/><Relationship Id="rId436" Type="http://schemas.openxmlformats.org/officeDocument/2006/relationships/slide" Target="slides/slide432.xml"/><Relationship Id="rId437" Type="http://schemas.openxmlformats.org/officeDocument/2006/relationships/slide" Target="slides/slide433.xml"/><Relationship Id="rId438" Type="http://schemas.openxmlformats.org/officeDocument/2006/relationships/slide" Target="slides/slide434.xml"/><Relationship Id="rId439" Type="http://schemas.openxmlformats.org/officeDocument/2006/relationships/slide" Target="slides/slide435.xml"/><Relationship Id="rId440" Type="http://schemas.openxmlformats.org/officeDocument/2006/relationships/slide" Target="slides/slide436.xml"/><Relationship Id="rId441" Type="http://schemas.openxmlformats.org/officeDocument/2006/relationships/slide" Target="slides/slide437.xml"/><Relationship Id="rId442" Type="http://schemas.openxmlformats.org/officeDocument/2006/relationships/slide" Target="slides/slide438.xml"/><Relationship Id="rId443" Type="http://schemas.openxmlformats.org/officeDocument/2006/relationships/slide" Target="slides/slide439.xml"/><Relationship Id="rId444" Type="http://schemas.openxmlformats.org/officeDocument/2006/relationships/slide" Target="slides/slide440.xml"/><Relationship Id="rId445" Type="http://schemas.openxmlformats.org/officeDocument/2006/relationships/slide" Target="slides/slide441.xml"/><Relationship Id="rId446" Type="http://schemas.openxmlformats.org/officeDocument/2006/relationships/slide" Target="slides/slide442.xml"/><Relationship Id="rId447" Type="http://schemas.openxmlformats.org/officeDocument/2006/relationships/notesMaster" Target="notesMasters/notesMaster1.xml"/><Relationship Id="rId448" Type="http://schemas.openxmlformats.org/officeDocument/2006/relationships/presProps" Target="presProps.xml"/><Relationship Id="rId449" Type="http://schemas.openxmlformats.org/officeDocument/2006/relationships/viewProps" Target="viewProps.xml"/><Relationship Id="rId450" Type="http://schemas.openxmlformats.org/officeDocument/2006/relationships/theme" Target="theme/theme1.xml"/><Relationship Id="rId451" Type="http://schemas.openxmlformats.org/officeDocument/2006/relationships/tableStyles" Target="tableStyles.xml"/><Relationship Id="rId452"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microsoft.com/office/2011/relationships/chartStyle" Target="style90.xml"/><Relationship Id="rId2" Type="http://schemas.microsoft.com/office/2011/relationships/chartColorStyle" Target="colors90.xml"/><Relationship Id="rId3"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microsoft.com/office/2011/relationships/chartStyle" Target="style92.xml"/><Relationship Id="rId2" Type="http://schemas.microsoft.com/office/2011/relationships/chartColorStyle" Target="colors92.xml"/><Relationship Id="rId3"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microsoft.com/office/2011/relationships/chartStyle" Target="style93.xml"/><Relationship Id="rId2" Type="http://schemas.microsoft.com/office/2011/relationships/chartColorStyle" Target="colors93.xml"/><Relationship Id="rId3"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microsoft.com/office/2011/relationships/chartStyle" Target="style94.xml"/><Relationship Id="rId2" Type="http://schemas.microsoft.com/office/2011/relationships/chartColorStyle" Target="colors94.xml"/><Relationship Id="rId3"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microsoft.com/office/2011/relationships/chartStyle" Target="style95.xml"/><Relationship Id="rId2" Type="http://schemas.microsoft.com/office/2011/relationships/chartColorStyle" Target="colors95.xml"/><Relationship Id="rId3"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microsoft.com/office/2011/relationships/chartStyle" Target="style96.xml"/><Relationship Id="rId2" Type="http://schemas.microsoft.com/office/2011/relationships/chartColorStyle" Target="colors96.xml"/><Relationship Id="rId3"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microsoft.com/office/2011/relationships/chartStyle" Target="style97.xml"/><Relationship Id="rId2" Type="http://schemas.microsoft.com/office/2011/relationships/chartColorStyle" Target="colors97.xml"/><Relationship Id="rId3"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microsoft.com/office/2011/relationships/chartStyle" Target="style98.xml"/><Relationship Id="rId2" Type="http://schemas.microsoft.com/office/2011/relationships/chartColorStyle" Target="colors98.xml"/><Relationship Id="rId3"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microsoft.com/office/2011/relationships/chartStyle" Target="style99.xml"/><Relationship Id="rId2" Type="http://schemas.microsoft.com/office/2011/relationships/chartColorStyle" Target="colors99.xml"/><Relationship Id="rId3"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microsoft.com/office/2011/relationships/chartStyle" Target="style101.xml"/><Relationship Id="rId2" Type="http://schemas.microsoft.com/office/2011/relationships/chartColorStyle" Target="colors101.xml"/><Relationship Id="rId3"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microsoft.com/office/2011/relationships/chartStyle" Target="style102.xml"/><Relationship Id="rId2" Type="http://schemas.microsoft.com/office/2011/relationships/chartColorStyle" Target="colors102.xml"/><Relationship Id="rId3"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microsoft.com/office/2011/relationships/chartStyle" Target="style103.xml"/><Relationship Id="rId2" Type="http://schemas.microsoft.com/office/2011/relationships/chartColorStyle" Target="colors103.xml"/><Relationship Id="rId3"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microsoft.com/office/2011/relationships/chartStyle" Target="style104.xml"/><Relationship Id="rId2" Type="http://schemas.microsoft.com/office/2011/relationships/chartColorStyle" Target="colors104.xml"/><Relationship Id="rId3"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microsoft.com/office/2011/relationships/chartStyle" Target="style105.xml"/><Relationship Id="rId2" Type="http://schemas.microsoft.com/office/2011/relationships/chartColorStyle" Target="colors105.xml"/><Relationship Id="rId3"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microsoft.com/office/2011/relationships/chartStyle" Target="style106.xml"/><Relationship Id="rId2" Type="http://schemas.microsoft.com/office/2011/relationships/chartColorStyle" Target="colors106.xml"/><Relationship Id="rId3"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microsoft.com/office/2011/relationships/chartStyle" Target="style107.xml"/><Relationship Id="rId2" Type="http://schemas.microsoft.com/office/2011/relationships/chartColorStyle" Target="colors107.xml"/><Relationship Id="rId3"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microsoft.com/office/2011/relationships/chartStyle" Target="style108.xml"/><Relationship Id="rId2" Type="http://schemas.microsoft.com/office/2011/relationships/chartColorStyle" Target="colors108.xml"/><Relationship Id="rId3"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microsoft.com/office/2011/relationships/chartStyle" Target="style109.xml"/><Relationship Id="rId2" Type="http://schemas.microsoft.com/office/2011/relationships/chartColorStyle" Target="colors109.xml"/><Relationship Id="rId3"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microsoft.com/office/2011/relationships/chartStyle" Target="style110.xml"/><Relationship Id="rId2" Type="http://schemas.microsoft.com/office/2011/relationships/chartColorStyle" Target="colors110.xml"/><Relationship Id="rId3"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microsoft.com/office/2011/relationships/chartStyle" Target="style111.xml"/><Relationship Id="rId2" Type="http://schemas.microsoft.com/office/2011/relationships/chartColorStyle" Target="colors111.xml"/><Relationship Id="rId3"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microsoft.com/office/2011/relationships/chartStyle" Target="style112.xml"/><Relationship Id="rId2" Type="http://schemas.microsoft.com/office/2011/relationships/chartColorStyle" Target="colors112.xml"/><Relationship Id="rId3"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microsoft.com/office/2011/relationships/chartStyle" Target="style113.xml"/><Relationship Id="rId2" Type="http://schemas.microsoft.com/office/2011/relationships/chartColorStyle" Target="colors113.xml"/><Relationship Id="rId3"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microsoft.com/office/2011/relationships/chartStyle" Target="style114.xml"/><Relationship Id="rId2" Type="http://schemas.microsoft.com/office/2011/relationships/chartColorStyle" Target="colors114.xml"/><Relationship Id="rId3"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microsoft.com/office/2011/relationships/chartStyle" Target="style115.xml"/><Relationship Id="rId2" Type="http://schemas.microsoft.com/office/2011/relationships/chartColorStyle" Target="colors115.xml"/><Relationship Id="rId3"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microsoft.com/office/2011/relationships/chartStyle" Target="style116.xml"/><Relationship Id="rId2" Type="http://schemas.microsoft.com/office/2011/relationships/chartColorStyle" Target="colors116.xml"/><Relationship Id="rId3"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microsoft.com/office/2011/relationships/chartStyle" Target="style117.xml"/><Relationship Id="rId2" Type="http://schemas.microsoft.com/office/2011/relationships/chartColorStyle" Target="colors117.xml"/><Relationship Id="rId3"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microsoft.com/office/2011/relationships/chartStyle" Target="style118.xml"/><Relationship Id="rId2" Type="http://schemas.microsoft.com/office/2011/relationships/chartColorStyle" Target="colors118.xml"/><Relationship Id="rId3"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microsoft.com/office/2011/relationships/chartStyle" Target="style119.xml"/><Relationship Id="rId2" Type="http://schemas.microsoft.com/office/2011/relationships/chartColorStyle" Target="colors119.xml"/><Relationship Id="rId3"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microsoft.com/office/2011/relationships/chartStyle" Target="style120.xml"/><Relationship Id="rId2" Type="http://schemas.microsoft.com/office/2011/relationships/chartColorStyle" Target="colors120.xml"/><Relationship Id="rId3"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microsoft.com/office/2011/relationships/chartStyle" Target="style121.xml"/><Relationship Id="rId2" Type="http://schemas.microsoft.com/office/2011/relationships/chartColorStyle" Target="colors121.xml"/><Relationship Id="rId3"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microsoft.com/office/2011/relationships/chartStyle" Target="style122.xml"/><Relationship Id="rId2" Type="http://schemas.microsoft.com/office/2011/relationships/chartColorStyle" Target="colors122.xml"/><Relationship Id="rId3"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microsoft.com/office/2011/relationships/chartStyle" Target="style123.xml"/><Relationship Id="rId2" Type="http://schemas.microsoft.com/office/2011/relationships/chartColorStyle" Target="colors123.xml"/><Relationship Id="rId3"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microsoft.com/office/2011/relationships/chartStyle" Target="style124.xml"/><Relationship Id="rId2" Type="http://schemas.microsoft.com/office/2011/relationships/chartColorStyle" Target="colors124.xml"/><Relationship Id="rId3"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microsoft.com/office/2011/relationships/chartStyle" Target="style125.xml"/><Relationship Id="rId2" Type="http://schemas.microsoft.com/office/2011/relationships/chartColorStyle" Target="colors125.xml"/><Relationship Id="rId3"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microsoft.com/office/2011/relationships/chartStyle" Target="style126.xml"/><Relationship Id="rId2" Type="http://schemas.microsoft.com/office/2011/relationships/chartColorStyle" Target="colors126.xml"/><Relationship Id="rId3"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microsoft.com/office/2011/relationships/chartStyle" Target="style127.xml"/><Relationship Id="rId2" Type="http://schemas.microsoft.com/office/2011/relationships/chartColorStyle" Target="colors127.xml"/><Relationship Id="rId3"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microsoft.com/office/2011/relationships/chartStyle" Target="style128.xml"/><Relationship Id="rId2" Type="http://schemas.microsoft.com/office/2011/relationships/chartColorStyle" Target="colors128.xml"/><Relationship Id="rId3"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microsoft.com/office/2011/relationships/chartStyle" Target="style129.xml"/><Relationship Id="rId2" Type="http://schemas.microsoft.com/office/2011/relationships/chartColorStyle" Target="colors129.xml"/><Relationship Id="rId3"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microsoft.com/office/2011/relationships/chartStyle" Target="style130.xml"/><Relationship Id="rId2" Type="http://schemas.microsoft.com/office/2011/relationships/chartColorStyle" Target="colors130.xml"/><Relationship Id="rId3"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microsoft.com/office/2011/relationships/chartStyle" Target="style131.xml"/><Relationship Id="rId2" Type="http://schemas.microsoft.com/office/2011/relationships/chartColorStyle" Target="colors131.xml"/><Relationship Id="rId3"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microsoft.com/office/2011/relationships/chartStyle" Target="style132.xml"/><Relationship Id="rId2" Type="http://schemas.microsoft.com/office/2011/relationships/chartColorStyle" Target="colors132.xml"/><Relationship Id="rId3"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microsoft.com/office/2011/relationships/chartStyle" Target="style133.xml"/><Relationship Id="rId2" Type="http://schemas.microsoft.com/office/2011/relationships/chartColorStyle" Target="colors133.xml"/><Relationship Id="rId3"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microsoft.com/office/2011/relationships/chartStyle" Target="style134.xml"/><Relationship Id="rId2" Type="http://schemas.microsoft.com/office/2011/relationships/chartColorStyle" Target="colors134.xml"/><Relationship Id="rId3"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microsoft.com/office/2011/relationships/chartStyle" Target="style135.xml"/><Relationship Id="rId2" Type="http://schemas.microsoft.com/office/2011/relationships/chartColorStyle" Target="colors135.xml"/><Relationship Id="rId3"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microsoft.com/office/2011/relationships/chartStyle" Target="style136.xml"/><Relationship Id="rId2" Type="http://schemas.microsoft.com/office/2011/relationships/chartColorStyle" Target="colors136.xml"/><Relationship Id="rId3"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microsoft.com/office/2011/relationships/chartStyle" Target="style137.xml"/><Relationship Id="rId2" Type="http://schemas.microsoft.com/office/2011/relationships/chartColorStyle" Target="colors137.xml"/><Relationship Id="rId3"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microsoft.com/office/2011/relationships/chartStyle" Target="style138.xml"/><Relationship Id="rId2" Type="http://schemas.microsoft.com/office/2011/relationships/chartColorStyle" Target="colors138.xml"/><Relationship Id="rId3"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microsoft.com/office/2011/relationships/chartStyle" Target="style139.xml"/><Relationship Id="rId2" Type="http://schemas.microsoft.com/office/2011/relationships/chartColorStyle" Target="colors139.xml"/><Relationship Id="rId3"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microsoft.com/office/2011/relationships/chartStyle" Target="style140.xml"/><Relationship Id="rId2" Type="http://schemas.microsoft.com/office/2011/relationships/chartColorStyle" Target="colors140.xml"/><Relationship Id="rId3"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microsoft.com/office/2011/relationships/chartStyle" Target="style141.xml"/><Relationship Id="rId2" Type="http://schemas.microsoft.com/office/2011/relationships/chartColorStyle" Target="colors141.xml"/><Relationship Id="rId3"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microsoft.com/office/2011/relationships/chartStyle" Target="style142.xml"/><Relationship Id="rId2" Type="http://schemas.microsoft.com/office/2011/relationships/chartColorStyle" Target="colors142.xml"/><Relationship Id="rId3"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microsoft.com/office/2011/relationships/chartStyle" Target="style143.xml"/><Relationship Id="rId2" Type="http://schemas.microsoft.com/office/2011/relationships/chartColorStyle" Target="colors143.xml"/><Relationship Id="rId3"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microsoft.com/office/2011/relationships/chartStyle" Target="style144.xml"/><Relationship Id="rId2" Type="http://schemas.microsoft.com/office/2011/relationships/chartColorStyle" Target="colors144.xml"/><Relationship Id="rId3"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microsoft.com/office/2011/relationships/chartStyle" Target="style145.xml"/><Relationship Id="rId2" Type="http://schemas.microsoft.com/office/2011/relationships/chartColorStyle" Target="colors145.xml"/><Relationship Id="rId3"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microsoft.com/office/2011/relationships/chartStyle" Target="style146.xml"/><Relationship Id="rId2" Type="http://schemas.microsoft.com/office/2011/relationships/chartColorStyle" Target="colors146.xml"/><Relationship Id="rId3"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microsoft.com/office/2011/relationships/chartStyle" Target="style147.xml"/><Relationship Id="rId2" Type="http://schemas.microsoft.com/office/2011/relationships/chartColorStyle" Target="colors147.xml"/><Relationship Id="rId3"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microsoft.com/office/2011/relationships/chartStyle" Target="style148.xml"/><Relationship Id="rId2" Type="http://schemas.microsoft.com/office/2011/relationships/chartColorStyle" Target="colors148.xml"/><Relationship Id="rId3"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microsoft.com/office/2011/relationships/chartStyle" Target="style149.xml"/><Relationship Id="rId2" Type="http://schemas.microsoft.com/office/2011/relationships/chartColorStyle" Target="colors149.xml"/><Relationship Id="rId3"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microsoft.com/office/2011/relationships/chartStyle" Target="style150.xml"/><Relationship Id="rId2" Type="http://schemas.microsoft.com/office/2011/relationships/chartColorStyle" Target="colors150.xml"/><Relationship Id="rId3"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microsoft.com/office/2011/relationships/chartStyle" Target="style151.xml"/><Relationship Id="rId2" Type="http://schemas.microsoft.com/office/2011/relationships/chartColorStyle" Target="colors151.xml"/><Relationship Id="rId3"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microsoft.com/office/2011/relationships/chartStyle" Target="style152.xml"/><Relationship Id="rId2" Type="http://schemas.microsoft.com/office/2011/relationships/chartColorStyle" Target="colors152.xml"/><Relationship Id="rId3"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microsoft.com/office/2011/relationships/chartStyle" Target="style153.xml"/><Relationship Id="rId2" Type="http://schemas.microsoft.com/office/2011/relationships/chartColorStyle" Target="colors153.xml"/><Relationship Id="rId3"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microsoft.com/office/2011/relationships/chartStyle" Target="style154.xml"/><Relationship Id="rId2" Type="http://schemas.microsoft.com/office/2011/relationships/chartColorStyle" Target="colors154.xml"/><Relationship Id="rId3"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microsoft.com/office/2011/relationships/chartStyle" Target="style155.xml"/><Relationship Id="rId2" Type="http://schemas.microsoft.com/office/2011/relationships/chartColorStyle" Target="colors155.xml"/><Relationship Id="rId3"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microsoft.com/office/2011/relationships/chartStyle" Target="style156.xml"/><Relationship Id="rId2" Type="http://schemas.microsoft.com/office/2011/relationships/chartColorStyle" Target="colors156.xml"/><Relationship Id="rId3"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microsoft.com/office/2011/relationships/chartStyle" Target="style157.xml"/><Relationship Id="rId2" Type="http://schemas.microsoft.com/office/2011/relationships/chartColorStyle" Target="colors157.xml"/><Relationship Id="rId3"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microsoft.com/office/2011/relationships/chartStyle" Target="style158.xml"/><Relationship Id="rId2" Type="http://schemas.microsoft.com/office/2011/relationships/chartColorStyle" Target="colors158.xml"/><Relationship Id="rId3" Type="http://schemas.openxmlformats.org/officeDocument/2006/relationships/package" Target="../embeddings/Microsoft_Excel_Worksheet493.xlsx"/></Relationships>
</file>

<file path=ppt/charts/_rels/chart495.xml.rels><?xml version='1.0' encoding='UTF-8' standalone='yes'?>
<Relationships xmlns="http://schemas.openxmlformats.org/package/2006/relationships"><Relationship Id="rId1" Type="http://schemas.microsoft.com/office/2011/relationships/chartStyle" Target="style159.xml"/><Relationship Id="rId2" Type="http://schemas.microsoft.com/office/2011/relationships/chartColorStyle" Target="colors159.xml"/><Relationship Id="rId3" Type="http://schemas.openxmlformats.org/officeDocument/2006/relationships/package" Target="../embeddings/Microsoft_Excel_Worksheet494.xlsx"/></Relationships>
</file>

<file path=ppt/charts/_rels/chart496.xml.rels><?xml version='1.0' encoding='UTF-8' standalone='yes'?>
<Relationships xmlns="http://schemas.openxmlformats.org/package/2006/relationships"><Relationship Id="rId1" Type="http://schemas.microsoft.com/office/2011/relationships/chartStyle" Target="style160.xml"/><Relationship Id="rId2" Type="http://schemas.microsoft.com/office/2011/relationships/chartColorStyle" Target="colors160.xml"/><Relationship Id="rId3" Type="http://schemas.openxmlformats.org/officeDocument/2006/relationships/package" Target="../embeddings/Microsoft_Excel_Worksheet495.xlsx"/></Relationships>
</file>

<file path=ppt/charts/_rels/chart497.xml.rels><?xml version='1.0' encoding='UTF-8' standalone='yes'?>
<Relationships xmlns="http://schemas.openxmlformats.org/package/2006/relationships"><Relationship Id="rId1" Type="http://schemas.microsoft.com/office/2011/relationships/chartStyle" Target="style161.xml"/><Relationship Id="rId2" Type="http://schemas.microsoft.com/office/2011/relationships/chartColorStyle" Target="colors161.xml"/><Relationship Id="rId3" Type="http://schemas.openxmlformats.org/officeDocument/2006/relationships/package" Target="../embeddings/Microsoft_Excel_Worksheet496.xlsx"/></Relationships>
</file>

<file path=ppt/charts/_rels/chart498.xml.rels><?xml version='1.0' encoding='UTF-8' standalone='yes'?>
<Relationships xmlns="http://schemas.openxmlformats.org/package/2006/relationships"><Relationship Id="rId1" Type="http://schemas.microsoft.com/office/2011/relationships/chartStyle" Target="style162.xml"/><Relationship Id="rId2" Type="http://schemas.microsoft.com/office/2011/relationships/chartColorStyle" Target="colors162.xml"/><Relationship Id="rId3" Type="http://schemas.openxmlformats.org/officeDocument/2006/relationships/package" Target="../embeddings/Microsoft_Excel_Worksheet497.xlsx"/></Relationships>
</file>

<file path=ppt/charts/_rels/chart499.xml.rels><?xml version='1.0' encoding='UTF-8' standalone='yes'?>
<Relationships xmlns="http://schemas.openxmlformats.org/package/2006/relationships"><Relationship Id="rId1" Type="http://schemas.microsoft.com/office/2011/relationships/chartStyle" Target="style163.xml"/><Relationship Id="rId2" Type="http://schemas.microsoft.com/office/2011/relationships/chartColorStyle" Target="colors163.xml"/><Relationship Id="rId3" Type="http://schemas.openxmlformats.org/officeDocument/2006/relationships/package" Target="../embeddings/Microsoft_Excel_Worksheet49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00.xml.rels><?xml version='1.0' encoding='UTF-8' standalone='yes'?>
<Relationships xmlns="http://schemas.openxmlformats.org/package/2006/relationships"><Relationship Id="rId1" Type="http://schemas.microsoft.com/office/2011/relationships/chartStyle" Target="style164.xml"/><Relationship Id="rId2" Type="http://schemas.microsoft.com/office/2011/relationships/chartColorStyle" Target="colors164.xml"/><Relationship Id="rId3" Type="http://schemas.openxmlformats.org/officeDocument/2006/relationships/package" Target="../embeddings/Microsoft_Excel_Worksheet499.xlsx"/></Relationships>
</file>

<file path=ppt/charts/_rels/chart501.xml.rels><?xml version='1.0' encoding='UTF-8' standalone='yes'?>
<Relationships xmlns="http://schemas.openxmlformats.org/package/2006/relationships"><Relationship Id="rId1" Type="http://schemas.microsoft.com/office/2011/relationships/chartStyle" Target="style165.xml"/><Relationship Id="rId2" Type="http://schemas.microsoft.com/office/2011/relationships/chartColorStyle" Target="colors165.xml"/><Relationship Id="rId3" Type="http://schemas.openxmlformats.org/officeDocument/2006/relationships/package" Target="../embeddings/Microsoft_Excel_Worksheet500.xlsx"/></Relationships>
</file>

<file path=ppt/charts/_rels/chart502.xml.rels><?xml version='1.0' encoding='UTF-8' standalone='yes'?>
<Relationships xmlns="http://schemas.openxmlformats.org/package/2006/relationships"><Relationship Id="rId1" Type="http://schemas.microsoft.com/office/2011/relationships/chartStyle" Target="style166.xml"/><Relationship Id="rId2" Type="http://schemas.microsoft.com/office/2011/relationships/chartColorStyle" Target="colors166.xml"/><Relationship Id="rId3" Type="http://schemas.openxmlformats.org/officeDocument/2006/relationships/package" Target="../embeddings/Microsoft_Excel_Worksheet501.xlsx"/></Relationships>
</file>

<file path=ppt/charts/_rels/chart503.xml.rels><?xml version='1.0' encoding='UTF-8' standalone='yes'?>
<Relationships xmlns="http://schemas.openxmlformats.org/package/2006/relationships"><Relationship Id="rId1" Type="http://schemas.microsoft.com/office/2011/relationships/chartStyle" Target="style167.xml"/><Relationship Id="rId2" Type="http://schemas.microsoft.com/office/2011/relationships/chartColorStyle" Target="colors167.xml"/><Relationship Id="rId3" Type="http://schemas.openxmlformats.org/officeDocument/2006/relationships/package" Target="../embeddings/Microsoft_Excel_Worksheet502.xlsx"/></Relationships>
</file>

<file path=ppt/charts/_rels/chart504.xml.rels><?xml version='1.0' encoding='UTF-8' standalone='yes'?>
<Relationships xmlns="http://schemas.openxmlformats.org/package/2006/relationships"><Relationship Id="rId1" Type="http://schemas.microsoft.com/office/2011/relationships/chartStyle" Target="style168.xml"/><Relationship Id="rId2" Type="http://schemas.microsoft.com/office/2011/relationships/chartColorStyle" Target="colors168.xml"/><Relationship Id="rId3" Type="http://schemas.openxmlformats.org/officeDocument/2006/relationships/package" Target="../embeddings/Microsoft_Excel_Worksheet503.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2806045-EFE4-48AD-AF13-F5793A774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421E0C5-F8BA-4998-9D0E-A9F01F96C2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6E4D687-DA92-4A46-B462-CFD9E3538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E9B5E48-C6A0-4CE2-853B-809283829A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3876680-E4AA-4A4E-97BC-D773AE2ADD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9E2950E-06A7-4C39-9E43-1591CCDB74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46E83D6-3F20-4AD6-B5E3-7EA997C074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999D6BF-09E8-4CAF-9D2F-7C69425C1F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1338</c:v>
                </c:pt>
                <c:pt idx="1">
                  <c:v>209.1561</c:v>
                </c:pt>
                <c:pt idx="2">
                  <c:v>222.7422</c:v>
                </c:pt>
                <c:pt idx="3">
                  <c:v>577.1653</c:v>
                </c:pt>
                <c:pt idx="4">
                  <c:v>289.7245</c:v>
                </c:pt>
                <c:pt idx="5">
                  <c:v>84.4812</c:v>
                </c:pt>
                <c:pt idx="6">
                  <c:v>506.8335</c:v>
                </c:pt>
                <c:pt idx="7">
                  <c:v>206.3025</c:v>
                </c:pt>
              </c:numCache>
            </c:numRef>
          </c:xVal>
          <c:yVal>
            <c:numRef>
              <c:f>Sheet1!$B$2:$B$9</c:f>
              <c:numCache>
                <c:formatCode>General</c:formatCode>
                <c:ptCount val="8"/>
                <c:pt idx="0">
                  <c:v>1.038</c:v>
                </c:pt>
                <c:pt idx="1">
                  <c:v>0.746</c:v>
                </c:pt>
                <c:pt idx="2">
                  <c:v>0.726</c:v>
                </c:pt>
                <c:pt idx="3">
                  <c:v>4.18</c:v>
                </c:pt>
                <c:pt idx="4">
                  <c:v>2.057</c:v>
                </c:pt>
                <c:pt idx="5">
                  <c:v>0.416</c:v>
                </c:pt>
                <c:pt idx="6">
                  <c:v>6.353</c:v>
                </c:pt>
                <c:pt idx="7">
                  <c:v>2.557</c:v>
                </c:pt>
              </c:numCache>
            </c:numRef>
          </c:yVal>
          <c:bubbleSize>
            <c:numRef>
              <c:f>Sheet1!$C$2:$C$9</c:f>
              <c:numCache>
                <c:formatCode>General</c:formatCode>
                <c:ptCount val="8"/>
                <c:pt idx="0">
                  <c:v>536202668</c:v>
                </c:pt>
                <c:pt idx="1">
                  <c:v>269083052</c:v>
                </c:pt>
                <c:pt idx="2">
                  <c:v>215531333</c:v>
                </c:pt>
                <c:pt idx="3">
                  <c:v>108131910</c:v>
                </c:pt>
                <c:pt idx="4">
                  <c:v>102115148</c:v>
                </c:pt>
                <c:pt idx="5">
                  <c:v>62392994</c:v>
                </c:pt>
                <c:pt idx="6">
                  <c:v>50910918</c:v>
                </c:pt>
                <c:pt idx="7">
                  <c:v>1245902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0"/>
          <c:min val="68.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4DF43E53-5006-4FAF-BEC3-4C670E6442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284C4F04-19B0-4F7D-820B-489128C9B3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28F8CACF-BE0C-4E95-8324-E182DD300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3D285810-3791-4BE7-9DE5-B348850AD9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F4AEA368-81BB-4E3E-BC4E-CBA9A41E61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9677FCDB-AB6A-4BBE-A7F4-0ECE058BB2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ECBB1E03-F820-4313-9814-BD8C780BBF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1160D409-2BB4-4601-B828-DC6E70D46F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65.2018</c:v>
                </c:pt>
                <c:pt idx="1">
                  <c:v>245.2593</c:v>
                </c:pt>
                <c:pt idx="2">
                  <c:v>220.0378</c:v>
                </c:pt>
                <c:pt idx="3">
                  <c:v>252.9688</c:v>
                </c:pt>
                <c:pt idx="4">
                  <c:v>133.7369</c:v>
                </c:pt>
              </c:numCache>
            </c:numRef>
          </c:xVal>
          <c:yVal>
            <c:numRef>
              <c:f>Sheet1!$B$2:$B$6</c:f>
              <c:numCache>
                <c:formatCode>General</c:formatCode>
                <c:ptCount val="5"/>
                <c:pt idx="0">
                  <c:v>1.006</c:v>
                </c:pt>
                <c:pt idx="1">
                  <c:v>1.106</c:v>
                </c:pt>
                <c:pt idx="2">
                  <c:v>0.835</c:v>
                </c:pt>
                <c:pt idx="3">
                  <c:v>1.095</c:v>
                </c:pt>
                <c:pt idx="4">
                  <c:v>0.839</c:v>
                </c:pt>
              </c:numCache>
            </c:numRef>
          </c:yVal>
          <c:bubbleSize>
            <c:numRef>
              <c:f>Sheet1!$C$2:$C$6</c:f>
              <c:numCache>
                <c:formatCode>General</c:formatCode>
                <c:ptCount val="5"/>
                <c:pt idx="0">
                  <c:v>13323472</c:v>
                </c:pt>
                <c:pt idx="1">
                  <c:v>8223055</c:v>
                </c:pt>
                <c:pt idx="2">
                  <c:v>2810543</c:v>
                </c:pt>
                <c:pt idx="3">
                  <c:v>1516295</c:v>
                </c:pt>
                <c:pt idx="4">
                  <c:v>56209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8.0"/>
          <c:min val="107.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10EEAEAC-8233-47DA-A6FC-D91A3F69F3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4E5B9ED7-8022-4E49-97FE-18E0A4619B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AC984200-C475-4D1F-8790-454A615E89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2541A787-97EC-44DE-8049-0BC9ADC5C7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F0AD0D75-907A-4991-8615-618481AE20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40D59F34-30CD-4F5B-875A-EDA48BEFB1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785A7EA5-720D-48F4-ACC6-D480FEF83E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6A24E576-4E46-4A9E-9E4C-21B4E2C1B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B4337AD1-E562-4331-AE93-C1A5AA1099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2299EE7F-F5C7-4DE5-9007-F611AE3ED2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1B712067-B907-46C3-BC4A-3BC5849A09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EFFBA879-E527-4D7C-90D9-9E9673F40B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D8BE7A6F-6466-497B-85BF-0014B4CD36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23FF52E5-D7B8-4048-9B98-1F1A041AA5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CA410E06-1660-4FF5-8822-ACD816B586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474B50CE-00FA-45D2-92DF-147B1FC675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34565A-5D9A-4B8C-82F1-2EF222130A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556B581-CEAC-4EFB-96F7-3740A02E4B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00FA93A-4D20-49C0-9935-8EA4FF93D9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B272FB0-A17B-43D0-854B-5C67444781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CB479C3-6D9A-429A-BB19-C21DF98E22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1D1AD5C-FB8A-4944-AC9F-44C2FD3227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F2B08DF-CCC3-42E3-8056-54EF115115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44E72C1-EC5F-4A6E-B3FB-D103715CE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4D3919D-8312-4972-AD6D-84B3C9752D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84CFE5-DF04-4E82-B5C3-112C59D959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ED89DA7-8D97-407B-A4F5-E4DD8D9B99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57BFFCD-98D8-4556-974C-CC50DB568E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D6AE522-C424-4821-BA9D-F180D6F425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D0FD33E-F84F-4B45-8ECA-B2F93D5EB6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B2BF68C-4333-4BB6-9372-6C99FD2DEF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D4665E4-BE1B-4701-8DCA-B5E65DE07D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E860CA21-7E25-4DB2-A4E8-BC792D97E0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B3CEE040-701C-4EC7-A979-2A98149697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09C4A8A6-85A4-4769-B52D-CE86759AF8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243971AB-520A-4122-98B2-C0169825C4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389D6723-7708-45BC-A5F5-58E9662762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44BE1DFF-518E-41BA-93D5-BECC34D7D6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053A7B23-6C0E-4CD2-98F2-2AC8B330E8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6524C87B-2171-4DF6-AE92-59524C1B5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90EC7E58-1F2E-4544-9F44-301042E3FB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72AF48F2-F200-4861-BCE7-D6A0870D7B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360D58BF-9244-440A-AE8C-98E9C761E3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8C4454BE-96EE-4EFE-864C-687C34D453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9BA9931A-5F4C-4A98-8BDF-685C7644B0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F735E12F-1BFB-439C-B0DD-3DA58F4DAE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0C46AAC2-F76D-4FB7-8E7A-EB652B48FA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51BFEA64-D7AF-4DFD-A026-B98E0FCABF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5ED2B2EE-051C-49ED-A335-B037F4686F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2F0EFC7A-6471-4CFF-A303-B371932CD2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5BC8FD02-CDA6-4CA7-8A59-9F6E408DB2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31F2A544-8802-4B04-86BB-06A615322E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8F80A572-6351-4017-8C92-B78CF74C76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AB894339-55B0-490D-94DC-34CEF3A61A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6F03A119-95FE-4D8D-BCEF-94C971D50A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FC129773-B5A0-43C9-9AC1-7E3976E38F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AC3EDB-006A-4358-9337-783C259C07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A65086-807B-410A-AD69-BE1EB14470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F5EF42B-9EDC-4DF7-B2E8-178ECFFBB6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59AC6BF-33D3-4BE4-B258-B6FE44AED4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4E9F3EB-6B02-4EA2-907E-0C3F1AE217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C6F8BFF-BB49-4F66-9010-A222FCFDF4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B7E63F1-E8D4-4637-8ADB-3FF4482267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2ACA562-A828-4778-8A08-C91902658C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75E945B-B5EA-43D2-BF33-D1CC57B71A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C60E6F3-169A-4C1F-AE7B-2A3AB04202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CECCE27-D13B-4953-9304-8649E2669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7A950E5-72F6-4AD1-81B4-3047D555DB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554405E-914C-4343-B78D-53734CCBD0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20A837F-C845-4D65-8E82-59EA4F2C16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626415E-F477-4B9B-9DFD-7C833C3026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78FAE52-9A22-40E4-A11C-B3077760E5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718AFF8E-7BE4-407F-BD8F-43E3485C48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72BFB0E8-2DDC-49F0-912F-CA3B334AF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FD4B7A65-483F-440C-A487-3FE63752E6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CAE602AD-F0CC-4221-B594-8AFA30E67B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D1EC6508-8ECB-48F7-9F10-CFFB9BA04E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DD5196EC-408D-4FDF-B328-1BD59F892E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D95F72D0-012E-4359-88F3-D198D1D5E6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2918A91F-7FCF-4DF5-83D6-CA80F7C681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E80991AF-1B3E-4697-BE9D-188A1366F1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4A9A69A2-3E43-4366-9747-A8766D34A9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C5196E4A-F70B-4B96-973F-2C731537EB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DCED37E0-242B-428E-B713-2710E758BD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D602AA6C-4BCD-4FB7-9BCB-107AB4978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4BAA6F22-4667-4C84-A4C6-F39624EF61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AF1E8314-D44A-48B1-86F4-D513580CFE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E1C20B1C-6B84-40D3-BC89-F0E052EB04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61.594</c:v>
                </c:pt>
                <c:pt idx="1">
                  <c:v>133.5788</c:v>
                </c:pt>
                <c:pt idx="2">
                  <c:v>114.9379</c:v>
                </c:pt>
                <c:pt idx="3">
                  <c:v>221.8225</c:v>
                </c:pt>
                <c:pt idx="4">
                  <c:v>53.6305</c:v>
                </c:pt>
              </c:numCache>
            </c:numRef>
          </c:xVal>
          <c:yVal>
            <c:numRef>
              <c:f>Sheet1!$B$2:$B$6</c:f>
              <c:numCache>
                <c:formatCode>General</c:formatCode>
                <c:ptCount val="5"/>
                <c:pt idx="0">
                  <c:v>1.17</c:v>
                </c:pt>
                <c:pt idx="1">
                  <c:v>0.761</c:v>
                </c:pt>
                <c:pt idx="2">
                  <c:v>0.997</c:v>
                </c:pt>
                <c:pt idx="3">
                  <c:v>1.778</c:v>
                </c:pt>
                <c:pt idx="4">
                  <c:v>0.395</c:v>
                </c:pt>
              </c:numCache>
            </c:numRef>
          </c:yVal>
          <c:bubbleSize>
            <c:numRef>
              <c:f>Sheet1!$C$2:$C$6</c:f>
              <c:numCache>
                <c:formatCode>General</c:formatCode>
                <c:ptCount val="5"/>
                <c:pt idx="0">
                  <c:v>9270165</c:v>
                </c:pt>
                <c:pt idx="1">
                  <c:v>7397860</c:v>
                </c:pt>
                <c:pt idx="2">
                  <c:v>4436603</c:v>
                </c:pt>
                <c:pt idx="3">
                  <c:v>438765</c:v>
                </c:pt>
                <c:pt idx="4">
                  <c:v>28402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66.0"/>
          <c:min val="4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57FB5C97-85A0-4001-8C45-FB11B85435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D121372A-7671-4878-8980-9B6F27B907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01372285-36F9-4E17-A865-9B343E9644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3EE553E2-E037-47F9-AF52-15948F5AB7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AFC653DD-A03F-4E1D-9E76-206802939F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956D517B-2956-4E09-A7A0-4F65AE6B5F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BAD018BC-1294-4605-8AE5-67BAAAA849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DF7C2A19-5D48-4C1F-9B8C-9106C5511F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C94A3072-02D6-4EBC-9E28-F23BF0887A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F1291FE6-937A-47CE-94A4-2A5AD3280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0597A002-466D-4327-A471-14F96AD97C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71C86995-5F2B-4624-BAE8-8908BD27D0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1D2495EF-7768-47FB-8AD2-652D02070E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92FA50C2-D5B3-4091-91C3-7CCD26A12F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CFAF342A-190B-4F01-AEDA-A07539C550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BFD931FE-1BE0-4491-9AE6-E5BE5E9E0C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4CD3F1-7BA3-4F1E-B8CA-AEB9DD127D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942A16-7B41-4C90-B2C3-4270EA291D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C7775F8-9303-453A-A6BC-C646CB8736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5CD9D84-AB9D-411B-9ED4-233E7C539A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E0FDEE-120E-4BB9-9EF8-2EA93F0DFE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2315F54-8F4B-46F1-9BD0-10E134E69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14EE982-5543-4E23-9F16-574E072F00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BDF0BD4-623B-4CD8-9EFC-FDEE0B628E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990E9CC-FE41-4104-9DD2-8146FC4C61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DD1DD13-B8C6-492E-B0AB-9A123B8E9A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5ADD21D-A8C2-4171-B8B2-074BB78CCC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969BE2C-E8AF-4298-B110-63C2C9F08C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DC272B3-E989-468C-8646-82A2E72E2E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3D0FB24-C376-4A44-A084-F7BCCEF2DC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ED84CAB-D06C-4115-AA48-9A7AD1F362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4D8D035-32C7-498F-B05D-82E1540DC7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1338</c:v>
                </c:pt>
                <c:pt idx="1">
                  <c:v>209.1561</c:v>
                </c:pt>
                <c:pt idx="2">
                  <c:v>222.7422</c:v>
                </c:pt>
                <c:pt idx="3">
                  <c:v>577.1653</c:v>
                </c:pt>
                <c:pt idx="4">
                  <c:v>289.7245</c:v>
                </c:pt>
                <c:pt idx="5">
                  <c:v>84.4812</c:v>
                </c:pt>
                <c:pt idx="6">
                  <c:v>506.8335</c:v>
                </c:pt>
                <c:pt idx="7">
                  <c:v>206.3025</c:v>
                </c:pt>
              </c:numCache>
            </c:numRef>
          </c:xVal>
          <c:yVal>
            <c:numRef>
              <c:f>Sheet1!$B$2:$B$9</c:f>
              <c:numCache>
                <c:formatCode>General</c:formatCode>
                <c:ptCount val="8"/>
                <c:pt idx="0">
                  <c:v>1.038</c:v>
                </c:pt>
                <c:pt idx="1">
                  <c:v>0.746</c:v>
                </c:pt>
                <c:pt idx="2">
                  <c:v>0.726</c:v>
                </c:pt>
                <c:pt idx="3">
                  <c:v>4.18</c:v>
                </c:pt>
                <c:pt idx="4">
                  <c:v>2.057</c:v>
                </c:pt>
                <c:pt idx="5">
                  <c:v>0.416</c:v>
                </c:pt>
                <c:pt idx="6">
                  <c:v>6.353</c:v>
                </c:pt>
                <c:pt idx="7">
                  <c:v>2.557</c:v>
                </c:pt>
              </c:numCache>
            </c:numRef>
          </c:yVal>
          <c:bubbleSize>
            <c:numRef>
              <c:f>Sheet1!$C$2:$C$9</c:f>
              <c:numCache>
                <c:formatCode>General</c:formatCode>
                <c:ptCount val="8"/>
                <c:pt idx="0">
                  <c:v>536202668</c:v>
                </c:pt>
                <c:pt idx="1">
                  <c:v>269083052</c:v>
                </c:pt>
                <c:pt idx="2">
                  <c:v>215531333</c:v>
                </c:pt>
                <c:pt idx="3">
                  <c:v>108131910</c:v>
                </c:pt>
                <c:pt idx="4">
                  <c:v>102115148</c:v>
                </c:pt>
                <c:pt idx="5">
                  <c:v>62392994</c:v>
                </c:pt>
                <c:pt idx="6">
                  <c:v>50910918</c:v>
                </c:pt>
                <c:pt idx="7">
                  <c:v>1245902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0"/>
          <c:min val="6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82C350B-000E-4D54-80E1-70E0B7DB24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8E8278F-620D-41A9-8291-6442C1EEA7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9BCFE7E-CA0C-4AD5-BB52-1C6B4A87E4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66169CB-8ED3-4038-9EB0-43C718473A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9E65AE0-47A9-4A85-800F-4C1993E84E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DA5B0AE-798F-4950-A6D4-46EA0C8489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D47291E-E14D-4023-8BA0-74668B9FC1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D0C67E3-4349-4130-8EA6-A77DD9BE78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2595</c:v>
                </c:pt>
                <c:pt idx="1">
                  <c:v>197.4428</c:v>
                </c:pt>
                <c:pt idx="2">
                  <c:v>215.5523</c:v>
                </c:pt>
                <c:pt idx="3">
                  <c:v>289.4863</c:v>
                </c:pt>
                <c:pt idx="4">
                  <c:v>591.1292</c:v>
                </c:pt>
                <c:pt idx="5">
                  <c:v>84.3188</c:v>
                </c:pt>
                <c:pt idx="6">
                  <c:v>567.7175</c:v>
                </c:pt>
                <c:pt idx="7">
                  <c:v>227.9861</c:v>
                </c:pt>
              </c:numCache>
            </c:numRef>
          </c:xVal>
          <c:yVal>
            <c:numRef>
              <c:f>Sheet1!$B$2:$B$9</c:f>
              <c:numCache>
                <c:formatCode>General</c:formatCode>
                <c:ptCount val="8"/>
                <c:pt idx="0">
                  <c:v>1.037</c:v>
                </c:pt>
                <c:pt idx="1">
                  <c:v>0.745</c:v>
                </c:pt>
                <c:pt idx="2">
                  <c:v>0.69</c:v>
                </c:pt>
                <c:pt idx="3">
                  <c:v>2.046</c:v>
                </c:pt>
                <c:pt idx="4">
                  <c:v>4.246</c:v>
                </c:pt>
                <c:pt idx="5">
                  <c:v>0.405</c:v>
                </c:pt>
                <c:pt idx="6">
                  <c:v>4.907</c:v>
                </c:pt>
                <c:pt idx="7">
                  <c:v>2.719</c:v>
                </c:pt>
              </c:numCache>
            </c:numRef>
          </c:yVal>
          <c:bubbleSize>
            <c:numRef>
              <c:f>Sheet1!$C$2:$C$9</c:f>
              <c:numCache>
                <c:formatCode>General</c:formatCode>
                <c:ptCount val="8"/>
                <c:pt idx="0">
                  <c:v>113249134</c:v>
                </c:pt>
                <c:pt idx="1">
                  <c:v>58289864</c:v>
                </c:pt>
                <c:pt idx="2">
                  <c:v>41961776</c:v>
                </c:pt>
                <c:pt idx="3">
                  <c:v>28274994</c:v>
                </c:pt>
                <c:pt idx="4">
                  <c:v>25478849</c:v>
                </c:pt>
                <c:pt idx="5">
                  <c:v>13081218</c:v>
                </c:pt>
                <c:pt idx="6">
                  <c:v>9442278</c:v>
                </c:pt>
                <c:pt idx="7">
                  <c:v>301762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0"/>
          <c:min val="6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8946B8-4F97-4CF4-A4B3-B1A2228514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A14F942-8FEF-40E4-88DC-8FFC9539E5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4161C89-D05F-4676-921E-4A9FBE67F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45C4EAD-8D02-4E80-9583-09B7CDB4C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FD68D13-248C-471D-8A36-B361330545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BABA118-260F-44AF-8E85-15DF701AFA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E3D1DCE-24BD-4616-803C-4C982949C6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3800976-BAFF-40BD-8FCA-D218F84441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2.697</c:v>
                </c:pt>
                <c:pt idx="1">
                  <c:v>552.8728</c:v>
                </c:pt>
                <c:pt idx="2">
                  <c:v>195.1517</c:v>
                </c:pt>
                <c:pt idx="3">
                  <c:v>200.3155</c:v>
                </c:pt>
                <c:pt idx="4">
                  <c:v>467.469</c:v>
                </c:pt>
                <c:pt idx="5">
                  <c:v>291.7559</c:v>
                </c:pt>
                <c:pt idx="6">
                  <c:v>553.7422</c:v>
                </c:pt>
                <c:pt idx="7">
                  <c:v>220.0135</c:v>
                </c:pt>
              </c:numCache>
            </c:numRef>
          </c:xVal>
          <c:yVal>
            <c:numRef>
              <c:f>Sheet1!$B$2:$B$9</c:f>
              <c:numCache>
                <c:formatCode>General</c:formatCode>
                <c:ptCount val="8"/>
                <c:pt idx="0">
                  <c:v>0.884</c:v>
                </c:pt>
                <c:pt idx="1">
                  <c:v>3.394</c:v>
                </c:pt>
                <c:pt idx="2">
                  <c:v>0.583</c:v>
                </c:pt>
                <c:pt idx="3">
                  <c:v>0.57</c:v>
                </c:pt>
                <c:pt idx="4">
                  <c:v>4.613</c:v>
                </c:pt>
                <c:pt idx="5">
                  <c:v>1.687</c:v>
                </c:pt>
                <c:pt idx="6">
                  <c:v>3.766</c:v>
                </c:pt>
                <c:pt idx="7">
                  <c:v>2.17</c:v>
                </c:pt>
              </c:numCache>
            </c:numRef>
          </c:yVal>
          <c:bubbleSize>
            <c:numRef>
              <c:f>Sheet1!$C$2:$C$9</c:f>
              <c:numCache>
                <c:formatCode>General</c:formatCode>
                <c:ptCount val="8"/>
                <c:pt idx="0">
                  <c:v>77861555</c:v>
                </c:pt>
                <c:pt idx="1">
                  <c:v>38563986</c:v>
                </c:pt>
                <c:pt idx="2">
                  <c:v>34244636</c:v>
                </c:pt>
                <c:pt idx="3">
                  <c:v>32745172</c:v>
                </c:pt>
                <c:pt idx="4">
                  <c:v>25602342</c:v>
                </c:pt>
                <c:pt idx="5">
                  <c:v>19448156</c:v>
                </c:pt>
                <c:pt idx="6">
                  <c:v>14026291</c:v>
                </c:pt>
                <c:pt idx="7">
                  <c:v>191719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4.0"/>
          <c:min val="15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FC2F4EE-14E3-42DC-BB81-C9D51F6ACE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39C01A2-7860-4A00-8C0F-54AFFC3357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DBCAD30-6358-4A78-9B06-06D40483D2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334608F-1716-4E25-86DC-4238EDE8DC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D9FDB4F-C0C7-42AF-BD4D-471B6938C3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178B36B-518E-4BCF-B4B5-7C86963E12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38FF6F3-6B8D-4F27-AF5C-E788A3CE2D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3ABD4CC-9F4F-4FE3-B17D-9ED1F4A9BF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9.6053</c:v>
                </c:pt>
                <c:pt idx="1">
                  <c:v>218.0452</c:v>
                </c:pt>
                <c:pt idx="2">
                  <c:v>224.1871</c:v>
                </c:pt>
                <c:pt idx="3">
                  <c:v>280.3714</c:v>
                </c:pt>
                <c:pt idx="4">
                  <c:v>86.5805</c:v>
                </c:pt>
                <c:pt idx="5">
                  <c:v>605.0969</c:v>
                </c:pt>
                <c:pt idx="6">
                  <c:v>291.0607</c:v>
                </c:pt>
                <c:pt idx="7">
                  <c:v>156.0933</c:v>
                </c:pt>
              </c:numCache>
            </c:numRef>
          </c:xVal>
          <c:yVal>
            <c:numRef>
              <c:f>Sheet1!$B$2:$B$9</c:f>
              <c:numCache>
                <c:formatCode>General</c:formatCode>
                <c:ptCount val="8"/>
                <c:pt idx="0">
                  <c:v>1.147</c:v>
                </c:pt>
                <c:pt idx="1">
                  <c:v>0.845</c:v>
                </c:pt>
                <c:pt idx="2">
                  <c:v>0.849</c:v>
                </c:pt>
                <c:pt idx="3">
                  <c:v>2.176</c:v>
                </c:pt>
                <c:pt idx="4">
                  <c:v>0.479</c:v>
                </c:pt>
                <c:pt idx="5">
                  <c:v>5.171</c:v>
                </c:pt>
                <c:pt idx="6">
                  <c:v>1.124</c:v>
                </c:pt>
                <c:pt idx="7">
                  <c:v>2.34</c:v>
                </c:pt>
              </c:numCache>
            </c:numRef>
          </c:yVal>
          <c:bubbleSize>
            <c:numRef>
              <c:f>Sheet1!$C$2:$C$9</c:f>
              <c:numCache>
                <c:formatCode>General</c:formatCode>
                <c:ptCount val="8"/>
                <c:pt idx="0">
                  <c:v>110924561</c:v>
                </c:pt>
                <c:pt idx="1">
                  <c:v>51770699</c:v>
                </c:pt>
                <c:pt idx="2">
                  <c:v>35419541</c:v>
                </c:pt>
                <c:pt idx="3">
                  <c:v>13224280</c:v>
                </c:pt>
                <c:pt idx="4">
                  <c:v>10297880</c:v>
                </c:pt>
                <c:pt idx="5">
                  <c:v>3786091</c:v>
                </c:pt>
                <c:pt idx="6">
                  <c:v>3723830</c:v>
                </c:pt>
                <c:pt idx="7">
                  <c:v>223447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6.0"/>
          <c:min val="6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37A6A5A-420A-4817-B966-2ED3BC1EA8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6922C43-06BD-4BFE-AA98-74383FE5CE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2DD4A12-5B6D-4768-BE0D-289E610D1B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D4427B9-A4D5-4BE8-B49F-DD51A005C7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A2B7826-E3EE-4F92-A0ED-19276E09D5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B25BB3E-2771-4837-B351-5114DE38F6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324DEBF-9ACF-4006-AE8E-5E41CA323B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927A510-DDAD-4386-A7EB-786F129445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9.7555</c:v>
                </c:pt>
                <c:pt idx="1">
                  <c:v>211.729</c:v>
                </c:pt>
                <c:pt idx="2">
                  <c:v>223.8245</c:v>
                </c:pt>
                <c:pt idx="3">
                  <c:v>590.5508</c:v>
                </c:pt>
                <c:pt idx="4">
                  <c:v>288.5933</c:v>
                </c:pt>
                <c:pt idx="5">
                  <c:v>84.6912</c:v>
                </c:pt>
                <c:pt idx="6">
                  <c:v>585.4623</c:v>
                </c:pt>
                <c:pt idx="7">
                  <c:v>214.8602</c:v>
                </c:pt>
              </c:numCache>
            </c:numRef>
          </c:xVal>
          <c:yVal>
            <c:numRef>
              <c:f>Sheet1!$B$2:$B$9</c:f>
              <c:numCache>
                <c:formatCode>General</c:formatCode>
                <c:ptCount val="8"/>
                <c:pt idx="0">
                  <c:v>1.049</c:v>
                </c:pt>
                <c:pt idx="1">
                  <c:v>0.757</c:v>
                </c:pt>
                <c:pt idx="2">
                  <c:v>0.722</c:v>
                </c:pt>
                <c:pt idx="3">
                  <c:v>4.062</c:v>
                </c:pt>
                <c:pt idx="4">
                  <c:v>2.057</c:v>
                </c:pt>
                <c:pt idx="5">
                  <c:v>0.444</c:v>
                </c:pt>
                <c:pt idx="6">
                  <c:v>5.121</c:v>
                </c:pt>
                <c:pt idx="7">
                  <c:v>2.746</c:v>
                </c:pt>
              </c:numCache>
            </c:numRef>
          </c:yVal>
          <c:bubbleSize>
            <c:numRef>
              <c:f>Sheet1!$C$2:$C$9</c:f>
              <c:numCache>
                <c:formatCode>General</c:formatCode>
                <c:ptCount val="8"/>
                <c:pt idx="0">
                  <c:v>90276351</c:v>
                </c:pt>
                <c:pt idx="1">
                  <c:v>42299860</c:v>
                </c:pt>
                <c:pt idx="2">
                  <c:v>32509165</c:v>
                </c:pt>
                <c:pt idx="3">
                  <c:v>17830499</c:v>
                </c:pt>
                <c:pt idx="4">
                  <c:v>16300038</c:v>
                </c:pt>
                <c:pt idx="5">
                  <c:v>12513725</c:v>
                </c:pt>
                <c:pt idx="6">
                  <c:v>7144396</c:v>
                </c:pt>
                <c:pt idx="7">
                  <c:v>184564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0"/>
          <c:min val="6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A93CDB0-3276-4E19-BA8B-746B9B0EEE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0B9C7CA-7CC9-4429-A90B-A377635726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A76EF49-1398-45ED-AD96-32A4497576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A9D85DC-7B4E-44FB-A6D5-E97C581BA0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4366801-CE70-42DC-86A3-B1739DDACC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64E8A1E-80CF-4AD2-ABC4-F51AAC5E2C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873FFD4-E9A2-4051-A606-8F3471EC4F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ECB3691-F0AE-4D3A-A802-8519F7E2D7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4.0041</c:v>
                </c:pt>
                <c:pt idx="1">
                  <c:v>217.155</c:v>
                </c:pt>
                <c:pt idx="2">
                  <c:v>236.11</c:v>
                </c:pt>
                <c:pt idx="3">
                  <c:v>587.347</c:v>
                </c:pt>
                <c:pt idx="4">
                  <c:v>294.1069</c:v>
                </c:pt>
                <c:pt idx="5">
                  <c:v>85.7542</c:v>
                </c:pt>
                <c:pt idx="6">
                  <c:v>531.8736</c:v>
                </c:pt>
                <c:pt idx="7">
                  <c:v>221.1781</c:v>
                </c:pt>
              </c:numCache>
            </c:numRef>
          </c:xVal>
          <c:yVal>
            <c:numRef>
              <c:f>Sheet1!$B$2:$B$9</c:f>
              <c:numCache>
                <c:formatCode>General</c:formatCode>
                <c:ptCount val="8"/>
                <c:pt idx="0">
                  <c:v>1.067</c:v>
                </c:pt>
                <c:pt idx="1">
                  <c:v>0.781</c:v>
                </c:pt>
                <c:pt idx="2">
                  <c:v>0.763</c:v>
                </c:pt>
                <c:pt idx="3">
                  <c:v>4.016</c:v>
                </c:pt>
                <c:pt idx="4">
                  <c:v>2.214</c:v>
                </c:pt>
                <c:pt idx="5">
                  <c:v>0.422</c:v>
                </c:pt>
                <c:pt idx="6">
                  <c:v>6.583</c:v>
                </c:pt>
                <c:pt idx="7">
                  <c:v>2.791</c:v>
                </c:pt>
              </c:numCache>
            </c:numRef>
          </c:yVal>
          <c:bubbleSize>
            <c:numRef>
              <c:f>Sheet1!$C$2:$C$9</c:f>
              <c:numCache>
                <c:formatCode>General</c:formatCode>
                <c:ptCount val="8"/>
                <c:pt idx="0">
                  <c:v>73169020</c:v>
                </c:pt>
                <c:pt idx="1">
                  <c:v>47917858</c:v>
                </c:pt>
                <c:pt idx="2">
                  <c:v>41380400</c:v>
                </c:pt>
                <c:pt idx="3">
                  <c:v>16648350</c:v>
                </c:pt>
                <c:pt idx="4">
                  <c:v>15534431</c:v>
                </c:pt>
                <c:pt idx="5">
                  <c:v>11401966</c:v>
                </c:pt>
                <c:pt idx="6">
                  <c:v>7256352</c:v>
                </c:pt>
                <c:pt idx="7">
                  <c:v>195145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5.0"/>
          <c:min val="6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A76D98-E3DE-4958-9202-56278C8B9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F139194-3C68-475B-9A8F-7BB679F0EF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6DDEFED-2F7D-4DF6-9A87-CDB0AADB88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90B511B-6EEF-412A-B284-55916780B3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F4A9818-1D04-47A7-9B15-15086959A8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4BB5EA5-4503-4358-B2FC-327533C4E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7587FAC-D013-4046-A2E0-64631657C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BDB2194-4AA2-4A9F-9BB8-B4F7A0465D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0.4718</c:v>
                </c:pt>
                <c:pt idx="1">
                  <c:v>218.8167</c:v>
                </c:pt>
                <c:pt idx="2">
                  <c:v>240.5857</c:v>
                </c:pt>
                <c:pt idx="3">
                  <c:v>294.8242</c:v>
                </c:pt>
                <c:pt idx="4">
                  <c:v>600.3644</c:v>
                </c:pt>
                <c:pt idx="5">
                  <c:v>80.7539</c:v>
                </c:pt>
                <c:pt idx="6">
                  <c:v>556.3718</c:v>
                </c:pt>
                <c:pt idx="7">
                  <c:v>222.3146</c:v>
                </c:pt>
              </c:numCache>
            </c:numRef>
          </c:xVal>
          <c:yVal>
            <c:numRef>
              <c:f>Sheet1!$B$2:$B$9</c:f>
              <c:numCache>
                <c:formatCode>General</c:formatCode>
                <c:ptCount val="8"/>
                <c:pt idx="0">
                  <c:v>1.101</c:v>
                </c:pt>
                <c:pt idx="1">
                  <c:v>0.801</c:v>
                </c:pt>
                <c:pt idx="2">
                  <c:v>0.804</c:v>
                </c:pt>
                <c:pt idx="3">
                  <c:v>2.207</c:v>
                </c:pt>
                <c:pt idx="4">
                  <c:v>4.558</c:v>
                </c:pt>
                <c:pt idx="5">
                  <c:v>0.434</c:v>
                </c:pt>
                <c:pt idx="6">
                  <c:v>8.082</c:v>
                </c:pt>
                <c:pt idx="7">
                  <c:v>2.844</c:v>
                </c:pt>
              </c:numCache>
            </c:numRef>
          </c:yVal>
          <c:bubbleSize>
            <c:numRef>
              <c:f>Sheet1!$C$2:$C$9</c:f>
              <c:numCache>
                <c:formatCode>General</c:formatCode>
                <c:ptCount val="8"/>
                <c:pt idx="0">
                  <c:v>70722047</c:v>
                </c:pt>
                <c:pt idx="1">
                  <c:v>34560135</c:v>
                </c:pt>
                <c:pt idx="2">
                  <c:v>31515279</c:v>
                </c:pt>
                <c:pt idx="3">
                  <c:v>9333249</c:v>
                </c:pt>
                <c:pt idx="4">
                  <c:v>5824135</c:v>
                </c:pt>
                <c:pt idx="5">
                  <c:v>5525749</c:v>
                </c:pt>
                <c:pt idx="6">
                  <c:v>3208596</c:v>
                </c:pt>
                <c:pt idx="7">
                  <c:v>14926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0.0"/>
          <c:min val="6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BAE9244-2389-4FFA-B2BB-FA2C9FDB20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A99EFFF-31E4-489E-AF6A-17C358F5C4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24C37A1-E8D4-47AB-A7D4-C60D9A0F7B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2CF1629-832E-4319-B3C8-1CEF52A3CE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3BCEFE3-E038-4682-9C7E-88D81D7AB7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A8B8EB0-CAEA-462F-AC0C-3FECF5DA91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BB72762-9805-48D6-8BBC-38BB85D7A8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DFC0EA4-6CA3-4FDE-A0CA-B3A2ACBEA5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3.2715</c:v>
                </c:pt>
                <c:pt idx="1">
                  <c:v>196.1032</c:v>
                </c:pt>
                <c:pt idx="2">
                  <c:v>221.018</c:v>
                </c:pt>
                <c:pt idx="3">
                  <c:v>291.0402</c:v>
                </c:pt>
                <c:pt idx="4">
                  <c:v>591.1292</c:v>
                </c:pt>
                <c:pt idx="5">
                  <c:v>84.5439</c:v>
                </c:pt>
                <c:pt idx="6">
                  <c:v>569.417</c:v>
                </c:pt>
                <c:pt idx="7">
                  <c:v>227.9861</c:v>
                </c:pt>
              </c:numCache>
            </c:numRef>
          </c:xVal>
          <c:yVal>
            <c:numRef>
              <c:f>Sheet1!$B$2:$B$9</c:f>
              <c:numCache>
                <c:formatCode>General</c:formatCode>
                <c:ptCount val="8"/>
                <c:pt idx="0">
                  <c:v>1.023</c:v>
                </c:pt>
                <c:pt idx="1">
                  <c:v>0.738</c:v>
                </c:pt>
                <c:pt idx="2">
                  <c:v>0.718</c:v>
                </c:pt>
                <c:pt idx="3">
                  <c:v>1.977</c:v>
                </c:pt>
                <c:pt idx="4">
                  <c:v>4.114</c:v>
                </c:pt>
                <c:pt idx="5">
                  <c:v>0.396</c:v>
                </c:pt>
                <c:pt idx="6">
                  <c:v>4.773</c:v>
                </c:pt>
                <c:pt idx="7">
                  <c:v>2.634</c:v>
                </c:pt>
              </c:numCache>
            </c:numRef>
          </c:yVal>
          <c:bubbleSize>
            <c:numRef>
              <c:f>Sheet1!$C$2:$C$9</c:f>
              <c:numCache>
                <c:formatCode>General</c:formatCode>
                <c:ptCount val="8"/>
                <c:pt idx="0">
                  <c:v>111274571</c:v>
                </c:pt>
                <c:pt idx="1">
                  <c:v>54283907</c:v>
                </c:pt>
                <c:pt idx="2">
                  <c:v>39712741</c:v>
                </c:pt>
                <c:pt idx="3">
                  <c:v>28036189</c:v>
                </c:pt>
                <c:pt idx="4">
                  <c:v>25478849</c:v>
                </c:pt>
                <c:pt idx="5">
                  <c:v>13021033</c:v>
                </c:pt>
                <c:pt idx="6">
                  <c:v>9237082</c:v>
                </c:pt>
                <c:pt idx="7">
                  <c:v>301762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0"/>
          <c:min val="68.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E4E0F5B-EA5A-4788-8C70-D57780834D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3DB3FB1-3E10-4A73-84C8-D53AE86087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E292D00-BB5A-4F64-97DC-BE105C44FE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CCC7DE3-AFA1-41C2-A408-605D1F3C0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C52736C-1E07-4091-BF94-C2CD5F8CFB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AB253E2-B9CA-4640-A44E-F7DB342ACA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0F70D94-977E-4463-9F97-F805987B24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7756F94-9647-4016-A325-75D3F802B7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3.3146</c:v>
                </c:pt>
                <c:pt idx="1">
                  <c:v>209.0821</c:v>
                </c:pt>
                <c:pt idx="2">
                  <c:v>228.2642</c:v>
                </c:pt>
                <c:pt idx="3">
                  <c:v>577.1653</c:v>
                </c:pt>
                <c:pt idx="4">
                  <c:v>291.3579</c:v>
                </c:pt>
                <c:pt idx="5">
                  <c:v>84.7878</c:v>
                </c:pt>
                <c:pt idx="6">
                  <c:v>563.7208</c:v>
                </c:pt>
                <c:pt idx="7">
                  <c:v>206.3025</c:v>
                </c:pt>
              </c:numCache>
            </c:numRef>
          </c:xVal>
          <c:yVal>
            <c:numRef>
              <c:f>Sheet1!$B$2:$B$9</c:f>
              <c:numCache>
                <c:formatCode>General</c:formatCode>
                <c:ptCount val="8"/>
                <c:pt idx="0">
                  <c:v>1.03</c:v>
                </c:pt>
                <c:pt idx="1">
                  <c:v>0.748</c:v>
                </c:pt>
                <c:pt idx="2">
                  <c:v>0.751</c:v>
                </c:pt>
                <c:pt idx="3">
                  <c:v>4.064</c:v>
                </c:pt>
                <c:pt idx="4">
                  <c:v>1.995</c:v>
                </c:pt>
                <c:pt idx="5">
                  <c:v>0.409</c:v>
                </c:pt>
                <c:pt idx="6">
                  <c:v>6.113</c:v>
                </c:pt>
                <c:pt idx="7">
                  <c:v>2.486</c:v>
                </c:pt>
              </c:numCache>
            </c:numRef>
          </c:yVal>
          <c:bubbleSize>
            <c:numRef>
              <c:f>Sheet1!$C$2:$C$9</c:f>
              <c:numCache>
                <c:formatCode>General</c:formatCode>
                <c:ptCount val="8"/>
                <c:pt idx="0">
                  <c:v>523432960</c:v>
                </c:pt>
                <c:pt idx="1">
                  <c:v>246489415</c:v>
                </c:pt>
                <c:pt idx="2">
                  <c:v>205279552</c:v>
                </c:pt>
                <c:pt idx="3">
                  <c:v>108131910</c:v>
                </c:pt>
                <c:pt idx="4">
                  <c:v>101346207</c:v>
                </c:pt>
                <c:pt idx="5">
                  <c:v>61992752</c:v>
                </c:pt>
                <c:pt idx="6">
                  <c:v>44526055</c:v>
                </c:pt>
                <c:pt idx="7">
                  <c:v>1245902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0"/>
          <c:min val="6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C85E18-C481-4100-B5E2-34B61EFB4D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A965867-3A49-40C4-B3D2-1016857FB4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3DF2686-ECF9-48B7-BD1B-5596630184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5E6F82F-59EF-4653-9623-4DD9232510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09E6477-41BB-412D-AF76-1B273CC9FF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4880FD9-75E9-429A-92AB-0D5EDA5FA9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1462A20-48B3-4B7D-95F6-4B0134CC20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B724CA9-435C-4AE7-9FD6-82A65CDA0C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5.8971</c:v>
                </c:pt>
                <c:pt idx="1">
                  <c:v>455.8596</c:v>
                </c:pt>
                <c:pt idx="2">
                  <c:v>304.6145</c:v>
                </c:pt>
                <c:pt idx="3">
                  <c:v>427.7079</c:v>
                </c:pt>
                <c:pt idx="4">
                  <c:v>503.9086</c:v>
                </c:pt>
                <c:pt idx="5">
                  <c:v>166.6178</c:v>
                </c:pt>
                <c:pt idx="6">
                  <c:v>295.6549</c:v>
                </c:pt>
                <c:pt idx="7">
                  <c:v>262.897</c:v>
                </c:pt>
              </c:numCache>
            </c:numRef>
          </c:xVal>
          <c:yVal>
            <c:numRef>
              <c:f>Sheet1!$B$2:$B$9</c:f>
              <c:numCache>
                <c:formatCode>General</c:formatCode>
                <c:ptCount val="8"/>
                <c:pt idx="0">
                  <c:v>2.219</c:v>
                </c:pt>
                <c:pt idx="1">
                  <c:v>1.8</c:v>
                </c:pt>
                <c:pt idx="2">
                  <c:v>0.744</c:v>
                </c:pt>
                <c:pt idx="3">
                  <c:v>1.121</c:v>
                </c:pt>
                <c:pt idx="4">
                  <c:v>0.541</c:v>
                </c:pt>
                <c:pt idx="5">
                  <c:v>0.999</c:v>
                </c:pt>
                <c:pt idx="6">
                  <c:v>2.341</c:v>
                </c:pt>
                <c:pt idx="7">
                  <c:v>0.165</c:v>
                </c:pt>
              </c:numCache>
            </c:numRef>
          </c:yVal>
          <c:bubbleSize>
            <c:numRef>
              <c:f>Sheet1!$C$2:$C$9</c:f>
              <c:numCache>
                <c:formatCode>General</c:formatCode>
                <c:ptCount val="8"/>
                <c:pt idx="0">
                  <c:v>6292251</c:v>
                </c:pt>
                <c:pt idx="1">
                  <c:v>4300124</c:v>
                </c:pt>
                <c:pt idx="2">
                  <c:v>2476516</c:v>
                </c:pt>
                <c:pt idx="3">
                  <c:v>2076094</c:v>
                </c:pt>
                <c:pt idx="4">
                  <c:v>1069294</c:v>
                </c:pt>
                <c:pt idx="5">
                  <c:v>768941</c:v>
                </c:pt>
                <c:pt idx="6">
                  <c:v>709276</c:v>
                </c:pt>
                <c:pt idx="7">
                  <c:v>4337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05.0"/>
          <c:min val="13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B6D95D5-E3D7-48AA-A0FE-F5035D5F5C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FEF6EDA-8DD3-43C3-95AE-CF8B2108BB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78AF94E-A001-4592-9D6E-CA76C3B26F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DFB57A3-58A2-4D03-8CFE-687ADE5904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BC1DF7B-3E4F-47C6-B458-EC7D0E03B3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8D5FA08-7622-43B5-A01F-5E5BF1C19A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174136E-D79F-4C11-B51F-E484B3D13F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58B9310-9937-4EED-9CAD-CC61138386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65.2018</c:v>
                </c:pt>
                <c:pt idx="1">
                  <c:v>245.2593</c:v>
                </c:pt>
                <c:pt idx="2">
                  <c:v>220.0378</c:v>
                </c:pt>
                <c:pt idx="3">
                  <c:v>252.9688</c:v>
                </c:pt>
                <c:pt idx="4">
                  <c:v>133.7369</c:v>
                </c:pt>
              </c:numCache>
            </c:numRef>
          </c:xVal>
          <c:yVal>
            <c:numRef>
              <c:f>Sheet1!$B$2:$B$6</c:f>
              <c:numCache>
                <c:formatCode>General</c:formatCode>
                <c:ptCount val="5"/>
                <c:pt idx="0">
                  <c:v>1.006</c:v>
                </c:pt>
                <c:pt idx="1">
                  <c:v>1.106</c:v>
                </c:pt>
                <c:pt idx="2">
                  <c:v>0.835</c:v>
                </c:pt>
                <c:pt idx="3">
                  <c:v>1.095</c:v>
                </c:pt>
                <c:pt idx="4">
                  <c:v>0.839</c:v>
                </c:pt>
              </c:numCache>
            </c:numRef>
          </c:yVal>
          <c:bubbleSize>
            <c:numRef>
              <c:f>Sheet1!$C$2:$C$6</c:f>
              <c:numCache>
                <c:formatCode>General</c:formatCode>
                <c:ptCount val="5"/>
                <c:pt idx="0">
                  <c:v>13323472</c:v>
                </c:pt>
                <c:pt idx="1">
                  <c:v>8223055</c:v>
                </c:pt>
                <c:pt idx="2">
                  <c:v>2810543</c:v>
                </c:pt>
                <c:pt idx="3">
                  <c:v>1516295</c:v>
                </c:pt>
                <c:pt idx="4">
                  <c:v>56209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8.0"/>
          <c:min val="10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77BF875-348F-4E80-85AD-9CE8B1C659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6970FD1-07DD-49AE-AA60-6016D52D17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63190D2-2BE2-425B-91C9-FC8F596970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92561E7-AB53-450D-BBF5-864993CEBB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AD49EED-61F8-4906-8545-FC319B206A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56EAFED-0E65-48BA-9E6D-5F96CA411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4DCF920-E5BD-4662-8DA5-C5894071B6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9A23A71-0CBA-4313-83DA-13E5D7B1AF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61.594</c:v>
                </c:pt>
                <c:pt idx="1">
                  <c:v>133.5788</c:v>
                </c:pt>
                <c:pt idx="2">
                  <c:v>114.9379</c:v>
                </c:pt>
                <c:pt idx="3">
                  <c:v>221.8225</c:v>
                </c:pt>
                <c:pt idx="4">
                  <c:v>53.6305</c:v>
                </c:pt>
              </c:numCache>
            </c:numRef>
          </c:xVal>
          <c:yVal>
            <c:numRef>
              <c:f>Sheet1!$B$2:$B$6</c:f>
              <c:numCache>
                <c:formatCode>General</c:formatCode>
                <c:ptCount val="5"/>
                <c:pt idx="0">
                  <c:v>1.17</c:v>
                </c:pt>
                <c:pt idx="1">
                  <c:v>0.761</c:v>
                </c:pt>
                <c:pt idx="2">
                  <c:v>0.997</c:v>
                </c:pt>
                <c:pt idx="3">
                  <c:v>1.778</c:v>
                </c:pt>
                <c:pt idx="4">
                  <c:v>0.395</c:v>
                </c:pt>
              </c:numCache>
            </c:numRef>
          </c:yVal>
          <c:bubbleSize>
            <c:numRef>
              <c:f>Sheet1!$C$2:$C$6</c:f>
              <c:numCache>
                <c:formatCode>General</c:formatCode>
                <c:ptCount val="5"/>
                <c:pt idx="0">
                  <c:v>9270165</c:v>
                </c:pt>
                <c:pt idx="1">
                  <c:v>7397860</c:v>
                </c:pt>
                <c:pt idx="2">
                  <c:v>4436603</c:v>
                </c:pt>
                <c:pt idx="3">
                  <c:v>438765</c:v>
                </c:pt>
                <c:pt idx="4">
                  <c:v>28402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66.0"/>
          <c:min val="4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624ED9C-3182-4BBA-BB09-7513564129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75446A9-1F5D-425F-B05F-FFEE01C597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A2F271D-6BB2-43D6-9523-1E0BFC23A9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373542E-46F7-4EA4-B31E-EC98BF7805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1D82973-83C1-4B50-8ED2-809F96C0A3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D87C548-DE3A-4142-A307-630E4954EB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407D03A-8C52-4FDB-96A6-032C032BD8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38A8611-776A-437E-A6BC-0C89F1B038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3.2715</c:v>
                </c:pt>
                <c:pt idx="1">
                  <c:v>196.1032</c:v>
                </c:pt>
                <c:pt idx="2">
                  <c:v>221.018</c:v>
                </c:pt>
                <c:pt idx="3">
                  <c:v>291.0402</c:v>
                </c:pt>
                <c:pt idx="4">
                  <c:v>591.1292</c:v>
                </c:pt>
                <c:pt idx="5">
                  <c:v>84.5439</c:v>
                </c:pt>
                <c:pt idx="6">
                  <c:v>569.417</c:v>
                </c:pt>
                <c:pt idx="7">
                  <c:v>227.9861</c:v>
                </c:pt>
              </c:numCache>
            </c:numRef>
          </c:xVal>
          <c:yVal>
            <c:numRef>
              <c:f>Sheet1!$B$2:$B$9</c:f>
              <c:numCache>
                <c:formatCode>General</c:formatCode>
                <c:ptCount val="8"/>
                <c:pt idx="0">
                  <c:v>1.023</c:v>
                </c:pt>
                <c:pt idx="1">
                  <c:v>0.738</c:v>
                </c:pt>
                <c:pt idx="2">
                  <c:v>0.718</c:v>
                </c:pt>
                <c:pt idx="3">
                  <c:v>1.977</c:v>
                </c:pt>
                <c:pt idx="4">
                  <c:v>4.114</c:v>
                </c:pt>
                <c:pt idx="5">
                  <c:v>0.396</c:v>
                </c:pt>
                <c:pt idx="6">
                  <c:v>4.773</c:v>
                </c:pt>
                <c:pt idx="7">
                  <c:v>2.634</c:v>
                </c:pt>
              </c:numCache>
            </c:numRef>
          </c:yVal>
          <c:bubbleSize>
            <c:numRef>
              <c:f>Sheet1!$C$2:$C$9</c:f>
              <c:numCache>
                <c:formatCode>General</c:formatCode>
                <c:ptCount val="8"/>
                <c:pt idx="0">
                  <c:v>111274571</c:v>
                </c:pt>
                <c:pt idx="1">
                  <c:v>54283907</c:v>
                </c:pt>
                <c:pt idx="2">
                  <c:v>39712741</c:v>
                </c:pt>
                <c:pt idx="3">
                  <c:v>28036189</c:v>
                </c:pt>
                <c:pt idx="4">
                  <c:v>25478849</c:v>
                </c:pt>
                <c:pt idx="5">
                  <c:v>13021033</c:v>
                </c:pt>
                <c:pt idx="6">
                  <c:v>9237082</c:v>
                </c:pt>
                <c:pt idx="7">
                  <c:v>301762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0"/>
          <c:min val="6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D6103E-E719-40BA-B668-A8330E546D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1744669-1C2B-443A-89B9-75A5AF3D91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6B7DAF8-29A7-4CF5-9F6B-CE71CF2151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0253869-83E9-4704-86DB-4E067D0D96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A8768EA-10C3-42C4-BC97-D9421232CD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4AE9750-7855-4463-8ABC-E669344126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49DABCB-02F2-4974-8FDD-01CD4378C4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2C13B13-6428-4BC5-82AE-1805064060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77.9471</c:v>
                </c:pt>
                <c:pt idx="1">
                  <c:v>495.5151</c:v>
                </c:pt>
                <c:pt idx="2">
                  <c:v>500.478</c:v>
                </c:pt>
                <c:pt idx="3">
                  <c:v>527.2492</c:v>
                </c:pt>
                <c:pt idx="4">
                  <c:v>240.2401</c:v>
                </c:pt>
                <c:pt idx="5">
                  <c:v>195.9192</c:v>
                </c:pt>
                <c:pt idx="6">
                  <c:v>346.1604</c:v>
                </c:pt>
                <c:pt idx="7">
                  <c:v>64.3077</c:v>
                </c:pt>
              </c:numCache>
            </c:numRef>
          </c:xVal>
          <c:yVal>
            <c:numRef>
              <c:f>Sheet1!$B$2:$B$9</c:f>
              <c:numCache>
                <c:formatCode>General</c:formatCode>
                <c:ptCount val="8"/>
                <c:pt idx="0">
                  <c:v>1.228</c:v>
                </c:pt>
                <c:pt idx="1">
                  <c:v>17.944</c:v>
                </c:pt>
                <c:pt idx="2">
                  <c:v>1.668</c:v>
                </c:pt>
                <c:pt idx="3">
                  <c:v>0.785</c:v>
                </c:pt>
                <c:pt idx="4">
                  <c:v>1.766</c:v>
                </c:pt>
                <c:pt idx="5">
                  <c:v>19.556</c:v>
                </c:pt>
                <c:pt idx="6">
                  <c:v>0.0</c:v>
                </c:pt>
                <c:pt idx="7">
                  <c:v>0.053</c:v>
                </c:pt>
              </c:numCache>
            </c:numRef>
          </c:yVal>
          <c:bubbleSize>
            <c:numRef>
              <c:f>Sheet1!$C$2:$C$9</c:f>
              <c:numCache>
                <c:formatCode>General</c:formatCode>
                <c:ptCount val="8"/>
                <c:pt idx="0">
                  <c:v>238805</c:v>
                </c:pt>
                <c:pt idx="1">
                  <c:v>213567</c:v>
                </c:pt>
                <c:pt idx="2">
                  <c:v>205196</c:v>
                </c:pt>
                <c:pt idx="3">
                  <c:v>165029</c:v>
                </c:pt>
                <c:pt idx="4">
                  <c:v>133093</c:v>
                </c:pt>
                <c:pt idx="5">
                  <c:v>77584</c:v>
                </c:pt>
                <c:pt idx="6">
                  <c:v>64732</c:v>
                </c:pt>
                <c:pt idx="7">
                  <c:v>83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33.0"/>
          <c:min val="5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7DC659F-BDF9-49FE-8119-EDCB64ED58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E436BDE-1B1A-4FF8-A7E9-2F74BB369E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D0D69B5-2C0C-44D5-AB6D-86171ECAD4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5CB7F47-07AD-49C9-BC26-0BB92DA998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73E5E29-B5B4-4F94-88CB-FF95CAF060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ECE08BD-1826-497B-98F5-195E56AD6B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2BB625F-252C-4794-B3C1-028F1A6704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6EA5E1C-EB61-4B53-A5E9-BD834CA671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75.0029</c:v>
                </c:pt>
                <c:pt idx="1">
                  <c:v>245.2314</c:v>
                </c:pt>
                <c:pt idx="2">
                  <c:v>217.6442</c:v>
                </c:pt>
                <c:pt idx="3">
                  <c:v>137.2075</c:v>
                </c:pt>
                <c:pt idx="4">
                  <c:v>329.1149</c:v>
                </c:pt>
              </c:numCache>
            </c:numRef>
          </c:xVal>
          <c:yVal>
            <c:numRef>
              <c:f>Sheet1!$B$2:$B$6</c:f>
              <c:numCache>
                <c:formatCode>General</c:formatCode>
                <c:ptCount val="5"/>
                <c:pt idx="0">
                  <c:v>1.078</c:v>
                </c:pt>
                <c:pt idx="1">
                  <c:v>1.145</c:v>
                </c:pt>
                <c:pt idx="2">
                  <c:v>0.859</c:v>
                </c:pt>
                <c:pt idx="3">
                  <c:v>0.865</c:v>
                </c:pt>
                <c:pt idx="4">
                  <c:v>1.305</c:v>
                </c:pt>
              </c:numCache>
            </c:numRef>
          </c:yVal>
          <c:bubbleSize>
            <c:numRef>
              <c:f>Sheet1!$C$2:$C$6</c:f>
              <c:numCache>
                <c:formatCode>General</c:formatCode>
                <c:ptCount val="5"/>
                <c:pt idx="0">
                  <c:v>2267399</c:v>
                </c:pt>
                <c:pt idx="1">
                  <c:v>1015258</c:v>
                </c:pt>
                <c:pt idx="2">
                  <c:v>577410</c:v>
                </c:pt>
                <c:pt idx="3">
                  <c:v>234076</c:v>
                </c:pt>
                <c:pt idx="4">
                  <c:v>7734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95.0"/>
          <c:min val="1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DB263A0-BD4D-499A-A29D-6194489A17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5C29288-38FF-4B46-AFB7-B27E3BF2E1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6808B79-178E-4F7F-8DD5-EB9E5F56FD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9818103-CADD-4FE7-B871-5FBB91AEAC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F7526C7-7F68-40A4-A163-1BF94584A8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C9621D6-63BD-446A-B1D1-0C036408C4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B33FB6F-6819-4427-949F-6C19A9ECC1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8CC0319-E1AC-4F4B-8263-CD00265589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71.0169</c:v>
                </c:pt>
                <c:pt idx="1">
                  <c:v>135.572</c:v>
                </c:pt>
                <c:pt idx="2">
                  <c:v>117.3258</c:v>
                </c:pt>
                <c:pt idx="3">
                  <c:v>54.3689</c:v>
                </c:pt>
              </c:numCache>
            </c:numRef>
          </c:xVal>
          <c:yVal>
            <c:numRef>
              <c:f>Sheet1!$B$2:$B$5</c:f>
              <c:numCache>
                <c:formatCode>General</c:formatCode>
                <c:ptCount val="4"/>
                <c:pt idx="0">
                  <c:v>1.312</c:v>
                </c:pt>
                <c:pt idx="1">
                  <c:v>0.79</c:v>
                </c:pt>
                <c:pt idx="2">
                  <c:v>1.079</c:v>
                </c:pt>
                <c:pt idx="3">
                  <c:v>0.421</c:v>
                </c:pt>
              </c:numCache>
            </c:numRef>
          </c:yVal>
          <c:bubbleSize>
            <c:numRef>
              <c:f>Sheet1!$C$2:$C$5</c:f>
              <c:numCache>
                <c:formatCode>General</c:formatCode>
                <c:ptCount val="4"/>
                <c:pt idx="0">
                  <c:v>1738558</c:v>
                </c:pt>
                <c:pt idx="1">
                  <c:v>1670789</c:v>
                </c:pt>
                <c:pt idx="2">
                  <c:v>903761</c:v>
                </c:pt>
                <c:pt idx="3">
                  <c:v>5349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5.0"/>
          <c:min val="4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952CCD5-CCD0-4246-9D71-043B88C50E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764B060-5689-4591-B956-66D7924BA0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0170E8C-E6EF-4521-9BEA-3AA870DAE2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DF99CBA-514A-40ED-8689-BE114E591F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D00FAED-B632-46EF-B254-44F822FB8E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2ECCC93-019B-4844-8BCF-0C181F4E62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96A1678-9976-4057-AC29-FF9024311A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55BCFE2-273C-407C-BEDE-FB18ABE947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4.6602</c:v>
                </c:pt>
                <c:pt idx="1">
                  <c:v>552.8728</c:v>
                </c:pt>
                <c:pt idx="2">
                  <c:v>195.1768</c:v>
                </c:pt>
                <c:pt idx="3">
                  <c:v>203.6603</c:v>
                </c:pt>
                <c:pt idx="4">
                  <c:v>544.9942</c:v>
                </c:pt>
                <c:pt idx="5">
                  <c:v>293.068</c:v>
                </c:pt>
                <c:pt idx="6">
                  <c:v>574.2405</c:v>
                </c:pt>
                <c:pt idx="7">
                  <c:v>220.0135</c:v>
                </c:pt>
              </c:numCache>
            </c:numRef>
          </c:xVal>
          <c:yVal>
            <c:numRef>
              <c:f>Sheet1!$B$2:$B$9</c:f>
              <c:numCache>
                <c:formatCode>General</c:formatCode>
                <c:ptCount val="8"/>
                <c:pt idx="0">
                  <c:v>0.895</c:v>
                </c:pt>
                <c:pt idx="1">
                  <c:v>3.38</c:v>
                </c:pt>
                <c:pt idx="2">
                  <c:v>0.594</c:v>
                </c:pt>
                <c:pt idx="3">
                  <c:v>0.594</c:v>
                </c:pt>
                <c:pt idx="4">
                  <c:v>4.491</c:v>
                </c:pt>
                <c:pt idx="5">
                  <c:v>1.676</c:v>
                </c:pt>
                <c:pt idx="6">
                  <c:v>3.943</c:v>
                </c:pt>
                <c:pt idx="7">
                  <c:v>2.161</c:v>
                </c:pt>
              </c:numCache>
            </c:numRef>
          </c:yVal>
          <c:bubbleSize>
            <c:numRef>
              <c:f>Sheet1!$C$2:$C$9</c:f>
              <c:numCache>
                <c:formatCode>General</c:formatCode>
                <c:ptCount val="8"/>
                <c:pt idx="0">
                  <c:v>76877378</c:v>
                </c:pt>
                <c:pt idx="1">
                  <c:v>38563986</c:v>
                </c:pt>
                <c:pt idx="2">
                  <c:v>32325964</c:v>
                </c:pt>
                <c:pt idx="3">
                  <c:v>31364903</c:v>
                </c:pt>
                <c:pt idx="4">
                  <c:v>20599144</c:v>
                </c:pt>
                <c:pt idx="5">
                  <c:v>19334577</c:v>
                </c:pt>
                <c:pt idx="6">
                  <c:v>12851502</c:v>
                </c:pt>
                <c:pt idx="7">
                  <c:v>191719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9.0"/>
          <c:min val="15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EBC4DFB-0A8D-4B2C-B439-215FE6B1ED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1A0C008-9DC0-4D85-9532-9AC0D8FE8A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254E16F-228D-48F9-A01C-402FFC80AB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A62AD46-2A9E-41DC-A61D-AFDD177F18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2172770-5971-4AEB-8199-2A189EB846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3CDE350-C34C-467D-A28E-8ED8A931C1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229FFB7-D3FC-4A48-94BE-88DB64823A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E7BECDD-EF3F-4B04-A28A-141A3E13CE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94.1848</c:v>
                </c:pt>
                <c:pt idx="1">
                  <c:v>451.1489</c:v>
                </c:pt>
                <c:pt idx="2">
                  <c:v>292.351</c:v>
                </c:pt>
                <c:pt idx="3">
                  <c:v>398.2336</c:v>
                </c:pt>
                <c:pt idx="4">
                  <c:v>277.202</c:v>
                </c:pt>
                <c:pt idx="5">
                  <c:v>444.8215</c:v>
                </c:pt>
                <c:pt idx="6">
                  <c:v>247.6154</c:v>
                </c:pt>
              </c:numCache>
            </c:numRef>
          </c:xVal>
          <c:yVal>
            <c:numRef>
              <c:f>Sheet1!$B$2:$B$8</c:f>
              <c:numCache>
                <c:formatCode>General</c:formatCode>
                <c:ptCount val="7"/>
                <c:pt idx="0">
                  <c:v>1.911</c:v>
                </c:pt>
                <c:pt idx="1">
                  <c:v>1.387</c:v>
                </c:pt>
                <c:pt idx="2">
                  <c:v>0.642</c:v>
                </c:pt>
                <c:pt idx="3">
                  <c:v>0.9</c:v>
                </c:pt>
                <c:pt idx="4">
                  <c:v>1.534</c:v>
                </c:pt>
                <c:pt idx="5">
                  <c:v>0.372</c:v>
                </c:pt>
                <c:pt idx="6">
                  <c:v>0.143</c:v>
                </c:pt>
              </c:numCache>
            </c:numRef>
          </c:yVal>
          <c:bubbleSize>
            <c:numRef>
              <c:f>Sheet1!$C$2:$C$8</c:f>
              <c:numCache>
                <c:formatCode>General</c:formatCode>
                <c:ptCount val="7"/>
                <c:pt idx="0">
                  <c:v>4965545</c:v>
                </c:pt>
                <c:pt idx="1">
                  <c:v>2807951</c:v>
                </c:pt>
                <c:pt idx="2">
                  <c:v>1714346</c:v>
                </c:pt>
                <c:pt idx="3">
                  <c:v>1174789</c:v>
                </c:pt>
                <c:pt idx="4">
                  <c:v>469303</c:v>
                </c:pt>
                <c:pt idx="5">
                  <c:v>363864</c:v>
                </c:pt>
                <c:pt idx="6">
                  <c:v>321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1.0"/>
          <c:min val="19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CDC33C6-B8B2-464E-965A-D7226C1EEE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717004E6-228D-4857-9ED2-66DEBFF46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34C0140A-9F39-4ED8-81B5-CA5072EB6F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EB9BB235-3D14-472E-9E8C-FAA5A8C4D8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590DF614-F75F-4ED1-BF1A-ACF15DC3A4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EAA798AA-96C8-48B4-863A-6FC52A7F05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E71BA138-2635-46AA-9F39-37E0CC7230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5B1C5F58-943E-4459-A31F-9177813892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77.9471</c:v>
                </c:pt>
                <c:pt idx="1">
                  <c:v>495.5151</c:v>
                </c:pt>
                <c:pt idx="2">
                  <c:v>500.478</c:v>
                </c:pt>
                <c:pt idx="3">
                  <c:v>527.2492</c:v>
                </c:pt>
                <c:pt idx="4">
                  <c:v>240.2401</c:v>
                </c:pt>
                <c:pt idx="5">
                  <c:v>195.9192</c:v>
                </c:pt>
                <c:pt idx="6">
                  <c:v>346.1604</c:v>
                </c:pt>
                <c:pt idx="7">
                  <c:v>64.3077</c:v>
                </c:pt>
              </c:numCache>
            </c:numRef>
          </c:xVal>
          <c:yVal>
            <c:numRef>
              <c:f>Sheet1!$B$2:$B$9</c:f>
              <c:numCache>
                <c:formatCode>General</c:formatCode>
                <c:ptCount val="8"/>
                <c:pt idx="0">
                  <c:v>1.228</c:v>
                </c:pt>
                <c:pt idx="1">
                  <c:v>17.944</c:v>
                </c:pt>
                <c:pt idx="2">
                  <c:v>1.668</c:v>
                </c:pt>
                <c:pt idx="3">
                  <c:v>0.785</c:v>
                </c:pt>
                <c:pt idx="4">
                  <c:v>1.766</c:v>
                </c:pt>
                <c:pt idx="5">
                  <c:v>19.556</c:v>
                </c:pt>
                <c:pt idx="6">
                  <c:v>0.0</c:v>
                </c:pt>
                <c:pt idx="7">
                  <c:v>0.053</c:v>
                </c:pt>
              </c:numCache>
            </c:numRef>
          </c:yVal>
          <c:bubbleSize>
            <c:numRef>
              <c:f>Sheet1!$C$2:$C$9</c:f>
              <c:numCache>
                <c:formatCode>General</c:formatCode>
                <c:ptCount val="8"/>
                <c:pt idx="0">
                  <c:v>238805</c:v>
                </c:pt>
                <c:pt idx="1">
                  <c:v>213567</c:v>
                </c:pt>
                <c:pt idx="2">
                  <c:v>205196</c:v>
                </c:pt>
                <c:pt idx="3">
                  <c:v>165029</c:v>
                </c:pt>
                <c:pt idx="4">
                  <c:v>133093</c:v>
                </c:pt>
                <c:pt idx="5">
                  <c:v>77584</c:v>
                </c:pt>
                <c:pt idx="6">
                  <c:v>64732</c:v>
                </c:pt>
                <c:pt idx="7">
                  <c:v>83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33.0"/>
          <c:min val="5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7A61276-2F1F-4EE8-AFDC-9EA16D2555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029B85-A9DD-47F5-B273-E4DB9EC36E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D449622-893E-496D-9FA8-6005F29781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34721E7-37A2-41BD-92F1-7C3ADD7D09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0E223A6-DAA4-4085-B74E-E85B1F8A12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852853E-661E-4981-A8F2-95C156AE6C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A3091EC-BB2F-46DE-A9E1-EF8E8725EC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0F082DA-8A83-4743-B2B3-F60BDFD57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33.9455</c:v>
                </c:pt>
                <c:pt idx="1">
                  <c:v>242.2634</c:v>
                </c:pt>
                <c:pt idx="2">
                  <c:v>210.5241</c:v>
                </c:pt>
                <c:pt idx="3">
                  <c:v>685.8738</c:v>
                </c:pt>
              </c:numCache>
            </c:numRef>
          </c:xVal>
          <c:yVal>
            <c:numRef>
              <c:f>Sheet1!$B$2:$B$5</c:f>
              <c:numCache>
                <c:formatCode>General</c:formatCode>
                <c:ptCount val="4"/>
                <c:pt idx="0">
                  <c:v>0.957</c:v>
                </c:pt>
                <c:pt idx="1">
                  <c:v>1.175</c:v>
                </c:pt>
                <c:pt idx="2">
                  <c:v>0.847</c:v>
                </c:pt>
                <c:pt idx="3">
                  <c:v>3.523</c:v>
                </c:pt>
              </c:numCache>
            </c:numRef>
          </c:yVal>
          <c:bubbleSize>
            <c:numRef>
              <c:f>Sheet1!$C$2:$C$5</c:f>
              <c:numCache>
                <c:formatCode>General</c:formatCode>
                <c:ptCount val="4"/>
                <c:pt idx="0">
                  <c:v>1245526</c:v>
                </c:pt>
                <c:pt idx="1">
                  <c:v>462723</c:v>
                </c:pt>
                <c:pt idx="2">
                  <c:v>414943</c:v>
                </c:pt>
                <c:pt idx="3">
                  <c:v>70645</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3.0"/>
          <c:min val="16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E8A1DBB-4F78-4538-8F44-8A0D8169CA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DEDD1C3-5DA5-4E14-BF3E-1CAD43AD1B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A26BCDA-5224-4809-B450-4F300EF9BB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E39D542-FD1D-46E1-87CA-BE26A5DEAE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C01613C-5EDC-470F-BF1B-9E7DC3A259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0D87142-FC17-42FC-9C32-701C52F169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93FAC71-A4CA-4F96-B6F0-F930DDCDE6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9665CAA-2326-4C92-8A52-1D29B1E445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26.7676</c:v>
                </c:pt>
                <c:pt idx="1">
                  <c:v>148.6302</c:v>
                </c:pt>
                <c:pt idx="2">
                  <c:v>108.1014</c:v>
                </c:pt>
                <c:pt idx="3">
                  <c:v>409.2717</c:v>
                </c:pt>
              </c:numCache>
            </c:numRef>
          </c:xVal>
          <c:yVal>
            <c:numRef>
              <c:f>Sheet1!$B$2:$B$5</c:f>
              <c:numCache>
                <c:formatCode>General</c:formatCode>
                <c:ptCount val="4"/>
                <c:pt idx="0">
                  <c:v>0.919</c:v>
                </c:pt>
                <c:pt idx="1">
                  <c:v>1.191</c:v>
                </c:pt>
                <c:pt idx="2">
                  <c:v>1.031</c:v>
                </c:pt>
                <c:pt idx="3">
                  <c:v>4.783</c:v>
                </c:pt>
              </c:numCache>
            </c:numRef>
          </c:yVal>
          <c:bubbleSize>
            <c:numRef>
              <c:f>Sheet1!$C$2:$C$5</c:f>
              <c:numCache>
                <c:formatCode>General</c:formatCode>
                <c:ptCount val="4"/>
                <c:pt idx="0">
                  <c:v>933136</c:v>
                </c:pt>
                <c:pt idx="1">
                  <c:v>673146</c:v>
                </c:pt>
                <c:pt idx="2">
                  <c:v>500077</c:v>
                </c:pt>
                <c:pt idx="3">
                  <c:v>37653</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1.0"/>
          <c:min val="8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117CF5E-8894-479E-8805-D237317D61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A3F66A7-40D3-4461-AD82-3588B234E2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2194B9D-62AF-45F5-8054-558DEA3C0D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2D53E43-76C4-4C7B-975B-9646AF2F15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1AF5B3E-1EF9-4347-AE03-E9744B2CA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165F565-EFC0-4D05-8D8D-419A9B26B4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B6C5C35-CBD4-4A37-821A-FC439F9264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B880654-C9C4-446F-8B77-3BB2C1A50B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2.1934</c:v>
                </c:pt>
                <c:pt idx="1">
                  <c:v>221.4801</c:v>
                </c:pt>
                <c:pt idx="2">
                  <c:v>230.2981</c:v>
                </c:pt>
                <c:pt idx="3">
                  <c:v>282.0527</c:v>
                </c:pt>
                <c:pt idx="4">
                  <c:v>87.4032</c:v>
                </c:pt>
                <c:pt idx="5">
                  <c:v>605.0969</c:v>
                </c:pt>
                <c:pt idx="6">
                  <c:v>73.7171</c:v>
                </c:pt>
                <c:pt idx="7">
                  <c:v>156.0933</c:v>
                </c:pt>
              </c:numCache>
            </c:numRef>
          </c:xVal>
          <c:yVal>
            <c:numRef>
              <c:f>Sheet1!$B$2:$B$9</c:f>
              <c:numCache>
                <c:formatCode>General</c:formatCode>
                <c:ptCount val="8"/>
                <c:pt idx="0">
                  <c:v>1.129</c:v>
                </c:pt>
                <c:pt idx="1">
                  <c:v>0.853</c:v>
                </c:pt>
                <c:pt idx="2">
                  <c:v>0.872</c:v>
                </c:pt>
                <c:pt idx="3">
                  <c:v>2.084</c:v>
                </c:pt>
                <c:pt idx="4">
                  <c:v>0.473</c:v>
                </c:pt>
                <c:pt idx="5">
                  <c:v>4.97</c:v>
                </c:pt>
                <c:pt idx="6">
                  <c:v>0.446</c:v>
                </c:pt>
                <c:pt idx="7">
                  <c:v>2.249</c:v>
                </c:pt>
              </c:numCache>
            </c:numRef>
          </c:yVal>
          <c:bubbleSize>
            <c:numRef>
              <c:f>Sheet1!$C$2:$C$9</c:f>
              <c:numCache>
                <c:formatCode>General</c:formatCode>
                <c:ptCount val="8"/>
                <c:pt idx="0">
                  <c:v>106919192</c:v>
                </c:pt>
                <c:pt idx="1">
                  <c:v>45886031</c:v>
                </c:pt>
                <c:pt idx="2">
                  <c:v>33832400</c:v>
                </c:pt>
                <c:pt idx="3">
                  <c:v>13126731</c:v>
                </c:pt>
                <c:pt idx="4">
                  <c:v>10154333</c:v>
                </c:pt>
                <c:pt idx="5">
                  <c:v>3786091</c:v>
                </c:pt>
                <c:pt idx="6">
                  <c:v>3202788</c:v>
                </c:pt>
                <c:pt idx="7">
                  <c:v>223447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6.0"/>
          <c:min val="5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C3130F-930D-4270-9C6D-FDCE39879D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DC70228-DBE7-4A94-885D-0F6F413B3D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19E1808-75B6-4BA1-99D9-0DEBCA3D11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0A15A6B-440E-4654-A381-E9901B5805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E5936FC-BADD-406C-8524-4B16627519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BD8FF7D-9E0E-4983-9F89-686741C899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117B966-2585-4935-B1CC-CEF8EE5A72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F975634-0253-404A-AEFD-760A9B6B76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55.5805</c:v>
                </c:pt>
                <c:pt idx="1">
                  <c:v>634.8955</c:v>
                </c:pt>
                <c:pt idx="2">
                  <c:v>638.5758</c:v>
                </c:pt>
                <c:pt idx="3">
                  <c:v>39.8793</c:v>
                </c:pt>
                <c:pt idx="4">
                  <c:v>585.0</c:v>
                </c:pt>
              </c:numCache>
            </c:numRef>
          </c:xVal>
          <c:yVal>
            <c:numRef>
              <c:f>Sheet1!$B$2:$B$6</c:f>
              <c:numCache>
                <c:formatCode>General</c:formatCode>
                <c:ptCount val="5"/>
                <c:pt idx="0">
                  <c:v>3.461</c:v>
                </c:pt>
                <c:pt idx="1">
                  <c:v>3.881</c:v>
                </c:pt>
                <c:pt idx="2">
                  <c:v>0.0</c:v>
                </c:pt>
                <c:pt idx="3">
                  <c:v>0.123</c:v>
                </c:pt>
                <c:pt idx="4">
                  <c:v>0.0</c:v>
                </c:pt>
              </c:numCache>
            </c:numRef>
          </c:yVal>
          <c:bubbleSize>
            <c:numRef>
              <c:f>Sheet1!$C$2:$C$6</c:f>
              <c:numCache>
                <c:formatCode>General</c:formatCode>
                <c:ptCount val="5"/>
                <c:pt idx="0">
                  <c:v>97549</c:v>
                </c:pt>
                <c:pt idx="1">
                  <c:v>85076</c:v>
                </c:pt>
                <c:pt idx="2">
                  <c:v>21073</c:v>
                </c:pt>
                <c:pt idx="3">
                  <c:v>11565</c:v>
                </c:pt>
                <c:pt idx="4">
                  <c:v>70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66.0"/>
          <c:min val="3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B755B89-7240-46E0-B6B2-2417EC7E1E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EEBDA9D-C770-40D0-A527-4E00E8C5C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F144A8B-FE67-4532-8143-8F279F453E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A5B1DCC-6669-4FCA-962B-05F8EC6660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DC8E773-3CC7-4B2E-896E-CB8358BA3C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CBB2D09-1A30-411C-AE7F-84AB3C49F4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CA8424D-6E21-4D11-96F1-4074E7BB6D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E182E80-0E40-4AFE-AE15-7EB8BA2F1B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70.0005</c:v>
                </c:pt>
                <c:pt idx="1">
                  <c:v>242.6779</c:v>
                </c:pt>
                <c:pt idx="2">
                  <c:v>243.4812</c:v>
                </c:pt>
                <c:pt idx="3">
                  <c:v>230.4784</c:v>
                </c:pt>
              </c:numCache>
            </c:numRef>
          </c:xVal>
          <c:yVal>
            <c:numRef>
              <c:f>Sheet1!$B$2:$B$5</c:f>
              <c:numCache>
                <c:formatCode>General</c:formatCode>
                <c:ptCount val="4"/>
                <c:pt idx="0">
                  <c:v>0.966</c:v>
                </c:pt>
                <c:pt idx="1">
                  <c:v>1.034</c:v>
                </c:pt>
                <c:pt idx="2">
                  <c:v>0.979</c:v>
                </c:pt>
                <c:pt idx="3">
                  <c:v>0.829</c:v>
                </c:pt>
              </c:numCache>
            </c:numRef>
          </c:yVal>
          <c:bubbleSize>
            <c:numRef>
              <c:f>Sheet1!$C$2:$C$5</c:f>
              <c:numCache>
                <c:formatCode>General</c:formatCode>
                <c:ptCount val="4"/>
                <c:pt idx="0">
                  <c:v>3012936</c:v>
                </c:pt>
                <c:pt idx="1">
                  <c:v>2876219</c:v>
                </c:pt>
                <c:pt idx="2">
                  <c:v>953229</c:v>
                </c:pt>
                <c:pt idx="3">
                  <c:v>29339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4.0"/>
          <c:min val="18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8E9A5F5-7497-4915-956E-4D7E909D34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3B68941-FC47-489B-AA7F-6EF36EE884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9970EC0-A738-43B9-84C3-29DDFBA34B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3D4F21D-F2A0-4B29-AFE1-53809527D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789DDD1-DBDF-4E18-9BE5-CA72D19604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8BFFF76-8A21-4C19-A65C-BABC23EA0B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51C7CD2-0D66-4336-B04D-2E180D65BC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1AE8AFA-9ECD-4D5B-B98B-199A93DEB5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50.4076</c:v>
                </c:pt>
                <c:pt idx="1">
                  <c:v>131.8665</c:v>
                </c:pt>
                <c:pt idx="2">
                  <c:v>116.8264</c:v>
                </c:pt>
                <c:pt idx="3">
                  <c:v>213.8289</c:v>
                </c:pt>
                <c:pt idx="4">
                  <c:v>53.3908</c:v>
                </c:pt>
              </c:numCache>
            </c:numRef>
          </c:xVal>
          <c:yVal>
            <c:numRef>
              <c:f>Sheet1!$B$2:$B$6</c:f>
              <c:numCache>
                <c:formatCode>General</c:formatCode>
                <c:ptCount val="5"/>
                <c:pt idx="0">
                  <c:v>0.994</c:v>
                </c:pt>
                <c:pt idx="1">
                  <c:v>0.672</c:v>
                </c:pt>
                <c:pt idx="2">
                  <c:v>0.928</c:v>
                </c:pt>
                <c:pt idx="3">
                  <c:v>1.472</c:v>
                </c:pt>
                <c:pt idx="4">
                  <c:v>0.357</c:v>
                </c:pt>
              </c:numCache>
            </c:numRef>
          </c:yVal>
          <c:bubbleSize>
            <c:numRef>
              <c:f>Sheet1!$C$2:$C$6</c:f>
              <c:numCache>
                <c:formatCode>General</c:formatCode>
                <c:ptCount val="5"/>
                <c:pt idx="0">
                  <c:v>2871732</c:v>
                </c:pt>
                <c:pt idx="1">
                  <c:v>1293742</c:v>
                </c:pt>
                <c:pt idx="2">
                  <c:v>1124337</c:v>
                </c:pt>
                <c:pt idx="3">
                  <c:v>319888</c:v>
                </c:pt>
                <c:pt idx="4">
                  <c:v>13198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7.0"/>
          <c:min val="4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2F23746-EB0D-485F-8E14-F75E7F3E17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C5657A6-296D-47E2-9853-C3CB9137DA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D4B5A0A-FF12-453D-91C6-B1D6F9CED2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260AC98-5E23-4F7B-8D6E-72C5B6FF7F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CD3753B-0751-4790-AAD4-425BE14484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EEF772F-E3FA-4EBA-A425-9ADAEB76B4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EDB31F0-DBC9-4136-B000-0EF2893B46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C59B3B2-D699-4DB8-A327-4763A8EBCF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6365</c:v>
                </c:pt>
                <c:pt idx="1">
                  <c:v>210.9269</c:v>
                </c:pt>
                <c:pt idx="2">
                  <c:v>229.2878</c:v>
                </c:pt>
                <c:pt idx="3">
                  <c:v>590.5508</c:v>
                </c:pt>
                <c:pt idx="4">
                  <c:v>290.1049</c:v>
                </c:pt>
                <c:pt idx="5">
                  <c:v>84.9806</c:v>
                </c:pt>
                <c:pt idx="6">
                  <c:v>592.2799</c:v>
                </c:pt>
                <c:pt idx="7">
                  <c:v>214.8602</c:v>
                </c:pt>
              </c:numCache>
            </c:numRef>
          </c:xVal>
          <c:yVal>
            <c:numRef>
              <c:f>Sheet1!$B$2:$B$9</c:f>
              <c:numCache>
                <c:formatCode>General</c:formatCode>
                <c:ptCount val="8"/>
                <c:pt idx="0">
                  <c:v>1.042</c:v>
                </c:pt>
                <c:pt idx="1">
                  <c:v>0.757</c:v>
                </c:pt>
                <c:pt idx="2">
                  <c:v>0.748</c:v>
                </c:pt>
                <c:pt idx="3">
                  <c:v>3.962</c:v>
                </c:pt>
                <c:pt idx="4">
                  <c:v>1.999</c:v>
                </c:pt>
                <c:pt idx="5">
                  <c:v>0.438</c:v>
                </c:pt>
                <c:pt idx="6">
                  <c:v>5.054</c:v>
                </c:pt>
                <c:pt idx="7">
                  <c:v>2.678</c:v>
                </c:pt>
              </c:numCache>
            </c:numRef>
          </c:yVal>
          <c:bubbleSize>
            <c:numRef>
              <c:f>Sheet1!$C$2:$C$9</c:f>
              <c:numCache>
                <c:formatCode>General</c:formatCode>
                <c:ptCount val="8"/>
                <c:pt idx="0">
                  <c:v>88331422</c:v>
                </c:pt>
                <c:pt idx="1">
                  <c:v>38701083</c:v>
                </c:pt>
                <c:pt idx="2">
                  <c:v>30962337</c:v>
                </c:pt>
                <c:pt idx="3">
                  <c:v>17830499</c:v>
                </c:pt>
                <c:pt idx="4">
                  <c:v>16158843</c:v>
                </c:pt>
                <c:pt idx="5">
                  <c:v>12462149</c:v>
                </c:pt>
                <c:pt idx="6">
                  <c:v>6878146</c:v>
                </c:pt>
                <c:pt idx="7">
                  <c:v>184564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1.0"/>
          <c:min val="6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1024469-3C28-444D-ABD9-2654380576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6559A19-7E67-46FF-BB0C-9F1802C9BA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B259ADD-3E61-47FC-ACD5-09CE661BFE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A2FE38B-1EE6-41B0-821D-5CD09EFF64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7F8BD8A-1EB5-4E5A-AACB-80356CFFE9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4AE031D-92BE-4860-9B22-6140E66E73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FE330BA-4B58-4A5F-A932-5620AB56C2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0CC3A1E-7E06-43C7-9951-263E9F0F8E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462.5864</c:v>
                </c:pt>
                <c:pt idx="1">
                  <c:v>311.356</c:v>
                </c:pt>
                <c:pt idx="2">
                  <c:v>358.8844</c:v>
                </c:pt>
                <c:pt idx="3">
                  <c:v>451.2712</c:v>
                </c:pt>
                <c:pt idx="4">
                  <c:v>534.2344</c:v>
                </c:pt>
                <c:pt idx="5">
                  <c:v>180.7875</c:v>
                </c:pt>
                <c:pt idx="6">
                  <c:v>325.4526</c:v>
                </c:pt>
                <c:pt idx="7">
                  <c:v>305.5</c:v>
                </c:pt>
              </c:numCache>
            </c:numRef>
          </c:xVal>
          <c:yVal>
            <c:numRef>
              <c:f>Sheet1!$B$2:$B$9</c:f>
              <c:numCache>
                <c:formatCode>General</c:formatCode>
                <c:ptCount val="8"/>
                <c:pt idx="0">
                  <c:v>2.533</c:v>
                </c:pt>
                <c:pt idx="1">
                  <c:v>2.942</c:v>
                </c:pt>
                <c:pt idx="2">
                  <c:v>0.722</c:v>
                </c:pt>
                <c:pt idx="3">
                  <c:v>1.027</c:v>
                </c:pt>
                <c:pt idx="4">
                  <c:v>0.509</c:v>
                </c:pt>
                <c:pt idx="5">
                  <c:v>0.888</c:v>
                </c:pt>
                <c:pt idx="6">
                  <c:v>6.408</c:v>
                </c:pt>
                <c:pt idx="7">
                  <c:v>0.0</c:v>
                </c:pt>
              </c:numCache>
            </c:numRef>
          </c:yVal>
          <c:bubbleSize>
            <c:numRef>
              <c:f>Sheet1!$C$2:$C$9</c:f>
              <c:numCache>
                <c:formatCode>General</c:formatCode>
                <c:ptCount val="8"/>
                <c:pt idx="0">
                  <c:v>522260</c:v>
                </c:pt>
                <c:pt idx="1">
                  <c:v>485404</c:v>
                </c:pt>
                <c:pt idx="2">
                  <c:v>276341</c:v>
                </c:pt>
                <c:pt idx="3">
                  <c:v>266250</c:v>
                </c:pt>
                <c:pt idx="4">
                  <c:v>180037</c:v>
                </c:pt>
                <c:pt idx="5">
                  <c:v>141195</c:v>
                </c:pt>
                <c:pt idx="6">
                  <c:v>75505</c:v>
                </c:pt>
                <c:pt idx="7">
                  <c:v>61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41.0"/>
          <c:min val="14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AB19C18-C15C-4C96-97B0-4F4604D874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72623B5-1046-4558-A355-599C0C4D65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51AFA9D-4DAA-4F59-9C8F-44D8E15009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9D31E22-658E-411F-968C-CB775F2C76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53854E7-6BF9-432D-9060-F50DA8A2D3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303403E-882B-4DFB-B6BD-19D51DC4AF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4439A79-6339-4C86-9695-4A5403DFDF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F874CFA-0699-4377-8DFA-51D0668363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63.8118</c:v>
                </c:pt>
                <c:pt idx="1">
                  <c:v>242.9085</c:v>
                </c:pt>
                <c:pt idx="2">
                  <c:v>225.251</c:v>
                </c:pt>
                <c:pt idx="3">
                  <c:v>250.8574</c:v>
                </c:pt>
                <c:pt idx="4">
                  <c:v>134.1218</c:v>
                </c:pt>
              </c:numCache>
            </c:numRef>
          </c:xVal>
          <c:yVal>
            <c:numRef>
              <c:f>Sheet1!$B$2:$B$6</c:f>
              <c:numCache>
                <c:formatCode>General</c:formatCode>
                <c:ptCount val="5"/>
                <c:pt idx="0">
                  <c:v>0.996</c:v>
                </c:pt>
                <c:pt idx="1">
                  <c:v>1.1</c:v>
                </c:pt>
                <c:pt idx="2">
                  <c:v>0.852</c:v>
                </c:pt>
                <c:pt idx="3">
                  <c:v>1.134</c:v>
                </c:pt>
                <c:pt idx="4">
                  <c:v>0.848</c:v>
                </c:pt>
              </c:numCache>
            </c:numRef>
          </c:yVal>
          <c:bubbleSize>
            <c:numRef>
              <c:f>Sheet1!$C$2:$C$6</c:f>
              <c:numCache>
                <c:formatCode>General</c:formatCode>
                <c:ptCount val="5"/>
                <c:pt idx="0">
                  <c:v>2355576</c:v>
                </c:pt>
                <c:pt idx="1">
                  <c:v>1290330</c:v>
                </c:pt>
                <c:pt idx="2">
                  <c:v>439690</c:v>
                </c:pt>
                <c:pt idx="3">
                  <c:v>283218</c:v>
                </c:pt>
                <c:pt idx="4">
                  <c:v>9361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7.0"/>
          <c:min val="10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17ACE9-E488-4834-8E06-160CE468F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C1B1D57-C926-45EB-BFB1-B599B9F2D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7D238F8-3A62-4331-87D0-F5CD004E93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E3BBAEA-16CC-458D-B0C3-0E3286F7B0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40640AA-2821-4CC6-B7E3-98812F2619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1437484-0074-4389-B355-49956FF409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BAC7770-9A99-41F8-93B7-5897980061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ACF86CB-81E9-4C16-B8ED-D6444C3A56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68.6154</c:v>
                </c:pt>
                <c:pt idx="1">
                  <c:v>134.0757</c:v>
                </c:pt>
                <c:pt idx="2">
                  <c:v>114.5124</c:v>
                </c:pt>
                <c:pt idx="3">
                  <c:v>233.6888</c:v>
                </c:pt>
                <c:pt idx="4">
                  <c:v>46.7466</c:v>
                </c:pt>
              </c:numCache>
            </c:numRef>
          </c:xVal>
          <c:yVal>
            <c:numRef>
              <c:f>Sheet1!$B$2:$B$6</c:f>
              <c:numCache>
                <c:formatCode>General</c:formatCode>
                <c:ptCount val="5"/>
                <c:pt idx="0">
                  <c:v>1.257</c:v>
                </c:pt>
                <c:pt idx="1">
                  <c:v>0.771</c:v>
                </c:pt>
                <c:pt idx="2">
                  <c:v>1.021</c:v>
                </c:pt>
                <c:pt idx="3">
                  <c:v>2.227</c:v>
                </c:pt>
                <c:pt idx="4">
                  <c:v>0.354</c:v>
                </c:pt>
              </c:numCache>
            </c:numRef>
          </c:yVal>
          <c:bubbleSize>
            <c:numRef>
              <c:f>Sheet1!$C$2:$C$6</c:f>
              <c:numCache>
                <c:formatCode>General</c:formatCode>
                <c:ptCount val="5"/>
                <c:pt idx="0">
                  <c:v>1243201</c:v>
                </c:pt>
                <c:pt idx="1">
                  <c:v>1106527</c:v>
                </c:pt>
                <c:pt idx="2">
                  <c:v>647453</c:v>
                </c:pt>
                <c:pt idx="3">
                  <c:v>56319</c:v>
                </c:pt>
                <c:pt idx="4">
                  <c:v>448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0.0"/>
          <c:min val="3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5D8A197D-6A08-4EF4-A6F5-7D3D99E5E5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C6374CB8-0A25-4DAC-BDED-B907DAFC62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C4C6F79B-C04D-4312-9C46-5EC156A1F6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B4CB1010-497F-47B5-A18B-D1F4C72D7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86BF3633-56B5-485D-854F-D390228AB5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C50CFBEC-97C4-47EF-B37A-91FE2A5C1D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60FE7D27-8FDD-4CDB-81CE-5BC5CBBD9A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8E9BB78B-C193-4D21-A35F-97A6BAC276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75.0029</c:v>
                </c:pt>
                <c:pt idx="1">
                  <c:v>245.2314</c:v>
                </c:pt>
                <c:pt idx="2">
                  <c:v>217.6442</c:v>
                </c:pt>
                <c:pt idx="3">
                  <c:v>137.2075</c:v>
                </c:pt>
                <c:pt idx="4">
                  <c:v>329.1149</c:v>
                </c:pt>
              </c:numCache>
            </c:numRef>
          </c:xVal>
          <c:yVal>
            <c:numRef>
              <c:f>Sheet1!$B$2:$B$6</c:f>
              <c:numCache>
                <c:formatCode>General</c:formatCode>
                <c:ptCount val="5"/>
                <c:pt idx="0">
                  <c:v>1.078</c:v>
                </c:pt>
                <c:pt idx="1">
                  <c:v>1.145</c:v>
                </c:pt>
                <c:pt idx="2">
                  <c:v>0.859</c:v>
                </c:pt>
                <c:pt idx="3">
                  <c:v>0.865</c:v>
                </c:pt>
                <c:pt idx="4">
                  <c:v>1.305</c:v>
                </c:pt>
              </c:numCache>
            </c:numRef>
          </c:yVal>
          <c:bubbleSize>
            <c:numRef>
              <c:f>Sheet1!$C$2:$C$6</c:f>
              <c:numCache>
                <c:formatCode>General</c:formatCode>
                <c:ptCount val="5"/>
                <c:pt idx="0">
                  <c:v>2267399</c:v>
                </c:pt>
                <c:pt idx="1">
                  <c:v>1015258</c:v>
                </c:pt>
                <c:pt idx="2">
                  <c:v>577410</c:v>
                </c:pt>
                <c:pt idx="3">
                  <c:v>234076</c:v>
                </c:pt>
                <c:pt idx="4">
                  <c:v>7734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95.0"/>
          <c:min val="110.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E2ECB11-23E0-41B9-A644-3137F7267A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7A598CA-474E-4699-81AE-CF10E15CC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3033863-9A68-464D-8AB0-1800090DD2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931EDF5-3A71-4849-8AFE-09BD1DAA49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29251F0-6AA9-4795-A2FF-FB788A0885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58D81DD-1A2D-4DDC-887C-8A59C400FA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5955A60-5A78-494E-B979-DDB9BB5847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A76D7DD-C633-41E0-8A66-43336941AE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6.5461</c:v>
                </c:pt>
                <c:pt idx="1">
                  <c:v>216.7578</c:v>
                </c:pt>
                <c:pt idx="2">
                  <c:v>243.0355</c:v>
                </c:pt>
                <c:pt idx="3">
                  <c:v>587.347</c:v>
                </c:pt>
                <c:pt idx="4">
                  <c:v>296.9305</c:v>
                </c:pt>
                <c:pt idx="5">
                  <c:v>85.8795</c:v>
                </c:pt>
                <c:pt idx="6">
                  <c:v>577.6143</c:v>
                </c:pt>
                <c:pt idx="7">
                  <c:v>221.1781</c:v>
                </c:pt>
              </c:numCache>
            </c:numRef>
          </c:xVal>
          <c:yVal>
            <c:numRef>
              <c:f>Sheet1!$B$2:$B$9</c:f>
              <c:numCache>
                <c:formatCode>General</c:formatCode>
                <c:ptCount val="8"/>
                <c:pt idx="0">
                  <c:v>1.06</c:v>
                </c:pt>
                <c:pt idx="1">
                  <c:v>0.78</c:v>
                </c:pt>
                <c:pt idx="2">
                  <c:v>0.791</c:v>
                </c:pt>
                <c:pt idx="3">
                  <c:v>3.894</c:v>
                </c:pt>
                <c:pt idx="4">
                  <c:v>2.143</c:v>
                </c:pt>
                <c:pt idx="5">
                  <c:v>0.411</c:v>
                </c:pt>
                <c:pt idx="6">
                  <c:v>6.268</c:v>
                </c:pt>
                <c:pt idx="7">
                  <c:v>2.706</c:v>
                </c:pt>
              </c:numCache>
            </c:numRef>
          </c:yVal>
          <c:bubbleSize>
            <c:numRef>
              <c:f>Sheet1!$C$2:$C$9</c:f>
              <c:numCache>
                <c:formatCode>General</c:formatCode>
                <c:ptCount val="8"/>
                <c:pt idx="0">
                  <c:v>71214845</c:v>
                </c:pt>
                <c:pt idx="1">
                  <c:v>43615577</c:v>
                </c:pt>
                <c:pt idx="2">
                  <c:v>39255583</c:v>
                </c:pt>
                <c:pt idx="3">
                  <c:v>16648350</c:v>
                </c:pt>
                <c:pt idx="4">
                  <c:v>15380108</c:v>
                </c:pt>
                <c:pt idx="5">
                  <c:v>11365898</c:v>
                </c:pt>
                <c:pt idx="6">
                  <c:v>6503359</c:v>
                </c:pt>
                <c:pt idx="7">
                  <c:v>195145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5.0"/>
          <c:min val="6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DDEFEA-1799-43E4-A60C-F5278E52D2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6A293EE-C08B-4654-8C52-69B497E44E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A3954BE-59AD-4C1E-88FE-1726F9B3AF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E12427B-AE13-493A-85A1-A201AE367D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6C798B6-12B4-4407-8C4E-6C512DAC4B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5AA6AA8-BEDC-46BC-8F55-DF77D79829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FEBCCF0-D40C-4866-857F-A6F99BA402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4D6497E-2ECD-4D3E-94BB-F5E35B4C2F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312.9966</c:v>
                </c:pt>
                <c:pt idx="1">
                  <c:v>456.2046</c:v>
                </c:pt>
                <c:pt idx="2">
                  <c:v>468.7049</c:v>
                </c:pt>
                <c:pt idx="3">
                  <c:v>369.4107</c:v>
                </c:pt>
                <c:pt idx="4">
                  <c:v>512.5045</c:v>
                </c:pt>
                <c:pt idx="5">
                  <c:v>151.001</c:v>
                </c:pt>
                <c:pt idx="6">
                  <c:v>337.0238</c:v>
                </c:pt>
                <c:pt idx="7">
                  <c:v>63.0</c:v>
                </c:pt>
              </c:numCache>
            </c:numRef>
          </c:xVal>
          <c:yVal>
            <c:numRef>
              <c:f>Sheet1!$B$2:$B$9</c:f>
              <c:numCache>
                <c:formatCode>General</c:formatCode>
                <c:ptCount val="8"/>
                <c:pt idx="0">
                  <c:v>2.093</c:v>
                </c:pt>
                <c:pt idx="1">
                  <c:v>1.755</c:v>
                </c:pt>
                <c:pt idx="2">
                  <c:v>1.186</c:v>
                </c:pt>
                <c:pt idx="3">
                  <c:v>0.612</c:v>
                </c:pt>
                <c:pt idx="4">
                  <c:v>0.467</c:v>
                </c:pt>
                <c:pt idx="5">
                  <c:v>0.711</c:v>
                </c:pt>
                <c:pt idx="6">
                  <c:v>7.046</c:v>
                </c:pt>
                <c:pt idx="7">
                  <c:v>0.0</c:v>
                </c:pt>
              </c:numCache>
            </c:numRef>
          </c:yVal>
          <c:bubbleSize>
            <c:numRef>
              <c:f>Sheet1!$C$2:$C$9</c:f>
              <c:numCache>
                <c:formatCode>General</c:formatCode>
                <c:ptCount val="8"/>
                <c:pt idx="0">
                  <c:v>731473</c:v>
                </c:pt>
                <c:pt idx="1">
                  <c:v>697993</c:v>
                </c:pt>
                <c:pt idx="2">
                  <c:v>343092</c:v>
                </c:pt>
                <c:pt idx="3">
                  <c:v>324712</c:v>
                </c:pt>
                <c:pt idx="4">
                  <c:v>171689</c:v>
                </c:pt>
                <c:pt idx="5">
                  <c:v>154323</c:v>
                </c:pt>
                <c:pt idx="6">
                  <c:v>84930</c:v>
                </c:pt>
                <c:pt idx="7">
                  <c:v>63</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15.0"/>
          <c:min val="5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F87C8E8-8058-48EC-83BF-2D3EE15B67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E2F922A-89D8-474B-8661-043A3A8073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37BA0DC-A37A-4848-9916-A9BFD8768E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F994DCA-C5D5-4FD9-8A75-CE4933E7BE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8366F8E-53B6-403D-BEF9-4E510A0893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10F7183-5800-45CD-9A54-D3259A020D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F11CC46-54E2-441C-9583-2DEBC69EF9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59CE1CA-A171-465C-AB9B-C6390D0E0D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68.9831</c:v>
                </c:pt>
                <c:pt idx="1">
                  <c:v>249.026</c:v>
                </c:pt>
                <c:pt idx="2">
                  <c:v>224.2826</c:v>
                </c:pt>
                <c:pt idx="3">
                  <c:v>132.2308</c:v>
                </c:pt>
                <c:pt idx="4">
                  <c:v>320.8378</c:v>
                </c:pt>
              </c:numCache>
            </c:numRef>
          </c:xVal>
          <c:yVal>
            <c:numRef>
              <c:f>Sheet1!$B$2:$B$6</c:f>
              <c:numCache>
                <c:formatCode>General</c:formatCode>
                <c:ptCount val="5"/>
                <c:pt idx="0">
                  <c:v>1.043</c:v>
                </c:pt>
                <c:pt idx="1">
                  <c:v>1.15</c:v>
                </c:pt>
                <c:pt idx="2">
                  <c:v>0.869</c:v>
                </c:pt>
                <c:pt idx="3">
                  <c:v>0.835</c:v>
                </c:pt>
                <c:pt idx="4">
                  <c:v>1.291</c:v>
                </c:pt>
              </c:numCache>
            </c:numRef>
          </c:yVal>
          <c:bubbleSize>
            <c:numRef>
              <c:f>Sheet1!$C$2:$C$6</c:f>
              <c:numCache>
                <c:formatCode>General</c:formatCode>
                <c:ptCount val="5"/>
                <c:pt idx="0">
                  <c:v>2737172</c:v>
                </c:pt>
                <c:pt idx="1">
                  <c:v>1255340</c:v>
                </c:pt>
                <c:pt idx="2">
                  <c:v>671502</c:v>
                </c:pt>
                <c:pt idx="3">
                  <c:v>179305</c:v>
                </c:pt>
                <c:pt idx="4">
                  <c:v>59355</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85.0"/>
          <c:min val="10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5DD0D55-6BA6-41CA-9237-4BFBA1F5BE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A1D694C-A76D-44DD-8721-B9A37014DF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88529FC-6A6C-4CED-984D-A715D12ED1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C801899-3659-4005-B11D-C1A649965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A0342A7-4FD9-4CE9-BDD1-91D67679C9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01FF053-DA87-4397-9D83-4F2602D5E6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8507B57-58FA-41E7-BC23-34A07D536D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F5BD910-DD76-4157-80FB-C39A165621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68.8724</c:v>
                </c:pt>
                <c:pt idx="1">
                  <c:v>135.2869</c:v>
                </c:pt>
                <c:pt idx="2">
                  <c:v>116.2015</c:v>
                </c:pt>
              </c:numCache>
            </c:numRef>
          </c:xVal>
          <c:yVal>
            <c:numRef>
              <c:f>Sheet1!$B$2:$B$4</c:f>
              <c:numCache>
                <c:formatCode>General</c:formatCode>
                <c:ptCount val="3"/>
                <c:pt idx="0">
                  <c:v>1.264</c:v>
                </c:pt>
                <c:pt idx="1">
                  <c:v>0.804</c:v>
                </c:pt>
                <c:pt idx="2">
                  <c:v>1.042</c:v>
                </c:pt>
              </c:numCache>
            </c:numRef>
          </c:yVal>
          <c:bubbleSize>
            <c:numRef>
              <c:f>Sheet1!$C$2:$C$4</c:f>
              <c:numCache>
                <c:formatCode>General</c:formatCode>
                <c:ptCount val="3"/>
                <c:pt idx="0">
                  <c:v>1565109</c:v>
                </c:pt>
                <c:pt idx="1">
                  <c:v>1453252</c:v>
                </c:pt>
                <c:pt idx="2">
                  <c:v>69302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3.0"/>
          <c:min val="9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821E8D0-D26E-4F17-A6FC-52846915C2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E8D473B-BE27-44DB-9DBD-4FF90B0CB4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881B425-8511-4D9A-825A-3B8108451E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30DC0E0-F286-428C-846F-1B0B9BDC07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50F0458-4A60-4B92-A61C-5C1D0EDBAF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F70B768-22B9-448B-B76D-33117C1B32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A645BB1-2690-4A83-83B8-65131F6A2D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C6FD12D-45D6-4BF8-BCC2-DAD94465E7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2.5107</c:v>
                </c:pt>
                <c:pt idx="1">
                  <c:v>219.0699</c:v>
                </c:pt>
                <c:pt idx="2">
                  <c:v>246.8326</c:v>
                </c:pt>
                <c:pt idx="3">
                  <c:v>295.5479</c:v>
                </c:pt>
                <c:pt idx="4">
                  <c:v>600.3644</c:v>
                </c:pt>
                <c:pt idx="5">
                  <c:v>80.9225</c:v>
                </c:pt>
                <c:pt idx="6">
                  <c:v>559.7216</c:v>
                </c:pt>
                <c:pt idx="7">
                  <c:v>222.3146</c:v>
                </c:pt>
              </c:numCache>
            </c:numRef>
          </c:xVal>
          <c:yVal>
            <c:numRef>
              <c:f>Sheet1!$B$2:$B$9</c:f>
              <c:numCache>
                <c:formatCode>General</c:formatCode>
                <c:ptCount val="8"/>
                <c:pt idx="0">
                  <c:v>1.089</c:v>
                </c:pt>
                <c:pt idx="1">
                  <c:v>0.799</c:v>
                </c:pt>
                <c:pt idx="2">
                  <c:v>0.829</c:v>
                </c:pt>
                <c:pt idx="3">
                  <c:v>2.131</c:v>
                </c:pt>
                <c:pt idx="4">
                  <c:v>4.408</c:v>
                </c:pt>
                <c:pt idx="5">
                  <c:v>0.422</c:v>
                </c:pt>
                <c:pt idx="6">
                  <c:v>7.727</c:v>
                </c:pt>
                <c:pt idx="7">
                  <c:v>2.75</c:v>
                </c:pt>
              </c:numCache>
            </c:numRef>
          </c:yVal>
          <c:bubbleSize>
            <c:numRef>
              <c:f>Sheet1!$C$2:$C$9</c:f>
              <c:numCache>
                <c:formatCode>General</c:formatCode>
                <c:ptCount val="8"/>
                <c:pt idx="0">
                  <c:v>68815552</c:v>
                </c:pt>
                <c:pt idx="1">
                  <c:v>31676853</c:v>
                </c:pt>
                <c:pt idx="2">
                  <c:v>30151588</c:v>
                </c:pt>
                <c:pt idx="3">
                  <c:v>9309759</c:v>
                </c:pt>
                <c:pt idx="4">
                  <c:v>5824135</c:v>
                </c:pt>
                <c:pt idx="5">
                  <c:v>5507100</c:v>
                </c:pt>
                <c:pt idx="6">
                  <c:v>3172502</c:v>
                </c:pt>
                <c:pt idx="7">
                  <c:v>14926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0.0"/>
          <c:min val="6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648810E-AB19-49EE-91EA-FD32EC9AD7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5EA9A3D-0038-4DBE-95D0-51890748D0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1FA5711-8AD8-428C-A7E8-241969DB52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350099B-CB24-4385-9579-6E704DDC37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7D544E6-5DD9-4358-A021-F7076D24F4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22FF782-CDE9-4678-9933-03459934D2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B111794-CB56-4A47-AB14-D2DC4BEC1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7949275-33AC-440B-A4F2-3B00CD0C3D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59.9946</c:v>
                </c:pt>
                <c:pt idx="1">
                  <c:v>472.6187</c:v>
                </c:pt>
                <c:pt idx="2">
                  <c:v>490.3613</c:v>
                </c:pt>
                <c:pt idx="3">
                  <c:v>335.1461</c:v>
                </c:pt>
                <c:pt idx="4">
                  <c:v>149.6178</c:v>
                </c:pt>
                <c:pt idx="5">
                  <c:v>411.8431</c:v>
                </c:pt>
                <c:pt idx="6">
                  <c:v>480.0313</c:v>
                </c:pt>
                <c:pt idx="7">
                  <c:v>509.3684</c:v>
                </c:pt>
              </c:numCache>
            </c:numRef>
          </c:xVal>
          <c:yVal>
            <c:numRef>
              <c:f>Sheet1!$B$2:$B$9</c:f>
              <c:numCache>
                <c:formatCode>General</c:formatCode>
                <c:ptCount val="8"/>
                <c:pt idx="0">
                  <c:v>0.946</c:v>
                </c:pt>
                <c:pt idx="1">
                  <c:v>2.399</c:v>
                </c:pt>
                <c:pt idx="2">
                  <c:v>0.0</c:v>
                </c:pt>
                <c:pt idx="3">
                  <c:v>0.0</c:v>
                </c:pt>
                <c:pt idx="4">
                  <c:v>2.001</c:v>
                </c:pt>
                <c:pt idx="5">
                  <c:v>5.368</c:v>
                </c:pt>
                <c:pt idx="6">
                  <c:v>0.357</c:v>
                </c:pt>
                <c:pt idx="7">
                  <c:v>0.353</c:v>
                </c:pt>
              </c:numCache>
            </c:numRef>
          </c:yVal>
          <c:bubbleSize>
            <c:numRef>
              <c:f>Sheet1!$C$2:$C$9</c:f>
              <c:numCache>
                <c:formatCode>General</c:formatCode>
                <c:ptCount val="8"/>
                <c:pt idx="0">
                  <c:v>103599</c:v>
                </c:pt>
                <c:pt idx="1">
                  <c:v>65694</c:v>
                </c:pt>
                <c:pt idx="2">
                  <c:v>58353</c:v>
                </c:pt>
                <c:pt idx="3">
                  <c:v>29828</c:v>
                </c:pt>
                <c:pt idx="4">
                  <c:v>23490</c:v>
                </c:pt>
                <c:pt idx="5">
                  <c:v>21004</c:v>
                </c:pt>
                <c:pt idx="6">
                  <c:v>15361</c:v>
                </c:pt>
                <c:pt idx="7">
                  <c:v>967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72.0"/>
          <c:min val="12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64418D9-E3DA-4B07-B327-C03A5B4B65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0634181-8EF6-4B8A-99A8-07A18BB121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BF06C8B-E8B5-4BA0-8E97-B319F62AE7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2864DEF-5246-457E-ACE6-F977A455DC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AB28CC9-847D-48A2-93D9-596AE662ED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7A41446-D2D4-45D4-9AE8-76691E6DBF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559B95A-191E-4636-A0F6-4DE9C1943C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F65F2DA-9C6C-40D2-A0AD-8BF9B3B25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66.1353</c:v>
                </c:pt>
                <c:pt idx="1">
                  <c:v>250.9359</c:v>
                </c:pt>
                <c:pt idx="2">
                  <c:v>214.3</c:v>
                </c:pt>
                <c:pt idx="3">
                  <c:v>270.0962</c:v>
                </c:pt>
              </c:numCache>
            </c:numRef>
          </c:xVal>
          <c:yVal>
            <c:numRef>
              <c:f>Sheet1!$B$2:$B$5</c:f>
              <c:numCache>
                <c:formatCode>General</c:formatCode>
                <c:ptCount val="4"/>
                <c:pt idx="0">
                  <c:v>0.989</c:v>
                </c:pt>
                <c:pt idx="1">
                  <c:v>1.105</c:v>
                </c:pt>
                <c:pt idx="2">
                  <c:v>0.792</c:v>
                </c:pt>
                <c:pt idx="3">
                  <c:v>1.362</c:v>
                </c:pt>
              </c:numCache>
            </c:numRef>
          </c:yVal>
          <c:bubbleSize>
            <c:numRef>
              <c:f>Sheet1!$C$2:$C$5</c:f>
              <c:numCache>
                <c:formatCode>General</c:formatCode>
                <c:ptCount val="4"/>
                <c:pt idx="0">
                  <c:v>1704863</c:v>
                </c:pt>
                <c:pt idx="1">
                  <c:v>1323185</c:v>
                </c:pt>
                <c:pt idx="2">
                  <c:v>413599</c:v>
                </c:pt>
                <c:pt idx="3">
                  <c:v>14315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4.0"/>
          <c:min val="17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75104C2-B521-4FD9-B543-F1A26812FA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63BB16F-7C87-427E-AEB3-B2FD09244D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3A4E94D-20BA-4593-AEF8-2B06FC97E6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F572380-5AE6-4C6A-9993-43CC135B2C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9DCC4F3-41AE-4524-9ABB-0A3A01711D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3CBFF7D-D23E-47AB-A025-2DE84101CF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51B2FED-C572-40A4-AFC9-8A648BE637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C02057E-DAD3-4200-BF80-2C4E4C2C7E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69.85</c:v>
                </c:pt>
                <c:pt idx="1">
                  <c:v>136.4699</c:v>
                </c:pt>
                <c:pt idx="2">
                  <c:v>112.9348</c:v>
                </c:pt>
                <c:pt idx="3">
                  <c:v>250.0581</c:v>
                </c:pt>
              </c:numCache>
            </c:numRef>
          </c:xVal>
          <c:yVal>
            <c:numRef>
              <c:f>Sheet1!$B$2:$B$5</c:f>
              <c:numCache>
                <c:formatCode>General</c:formatCode>
                <c:ptCount val="4"/>
                <c:pt idx="0">
                  <c:v>1.223</c:v>
                </c:pt>
                <c:pt idx="1">
                  <c:v>0.745</c:v>
                </c:pt>
                <c:pt idx="2">
                  <c:v>0.974</c:v>
                </c:pt>
                <c:pt idx="3">
                  <c:v>3.034</c:v>
                </c:pt>
              </c:numCache>
            </c:numRef>
          </c:yVal>
          <c:bubbleSize>
            <c:numRef>
              <c:f>Sheet1!$C$2:$C$5</c:f>
              <c:numCache>
                <c:formatCode>General</c:formatCode>
                <c:ptCount val="4"/>
                <c:pt idx="0">
                  <c:v>1178419</c:v>
                </c:pt>
                <c:pt idx="1">
                  <c:v>940414</c:v>
                </c:pt>
                <c:pt idx="2">
                  <c:v>567949</c:v>
                </c:pt>
                <c:pt idx="3">
                  <c:v>3875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0.0"/>
          <c:min val="9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EB7207F-119C-4A2D-9899-5CBD86266D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65CF7DA-3EC1-4512-93D4-A4FD037C19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1FDCF2D-3F62-41B5-A414-DC1925DF39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D63F144-ABF8-4856-97A0-2E7E3FDF31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D01D000-870C-4CB6-AC2B-87F6B0CA9B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CD2D80A-911B-49B0-A192-F97E067F21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2DD518E-BB19-44DB-A2DD-BBF02E70FE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679E3BC-FA68-42BB-8710-CE771F77E7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2.0453</c:v>
                </c:pt>
                <c:pt idx="1">
                  <c:v>209.3439</c:v>
                </c:pt>
                <c:pt idx="2">
                  <c:v>225.2062</c:v>
                </c:pt>
                <c:pt idx="3">
                  <c:v>576.4046</c:v>
                </c:pt>
                <c:pt idx="4">
                  <c:v>291.3579</c:v>
                </c:pt>
                <c:pt idx="5">
                  <c:v>87.3801</c:v>
                </c:pt>
                <c:pt idx="6">
                  <c:v>560.5796</c:v>
                </c:pt>
                <c:pt idx="7">
                  <c:v>206.3025</c:v>
                </c:pt>
              </c:numCache>
            </c:numRef>
          </c:xVal>
          <c:yVal>
            <c:numRef>
              <c:f>Sheet1!$B$2:$B$9</c:f>
              <c:numCache>
                <c:formatCode>General</c:formatCode>
                <c:ptCount val="8"/>
                <c:pt idx="0">
                  <c:v>1.008</c:v>
                </c:pt>
                <c:pt idx="1">
                  <c:v>0.719</c:v>
                </c:pt>
                <c:pt idx="2">
                  <c:v>0.719</c:v>
                </c:pt>
                <c:pt idx="3">
                  <c:v>3.888</c:v>
                </c:pt>
                <c:pt idx="4">
                  <c:v>1.913</c:v>
                </c:pt>
                <c:pt idx="5">
                  <c:v>0.406</c:v>
                </c:pt>
                <c:pt idx="6">
                  <c:v>6.171</c:v>
                </c:pt>
                <c:pt idx="7">
                  <c:v>2.384</c:v>
                </c:pt>
              </c:numCache>
            </c:numRef>
          </c:yVal>
          <c:bubbleSize>
            <c:numRef>
              <c:f>Sheet1!$C$2:$C$9</c:f>
              <c:numCache>
                <c:formatCode>General</c:formatCode>
                <c:ptCount val="8"/>
                <c:pt idx="0">
                  <c:v>462155258</c:v>
                </c:pt>
                <c:pt idx="1">
                  <c:v>245682239</c:v>
                </c:pt>
                <c:pt idx="2">
                  <c:v>163452614</c:v>
                </c:pt>
                <c:pt idx="3">
                  <c:v>105220346</c:v>
                </c:pt>
                <c:pt idx="4">
                  <c:v>101346207</c:v>
                </c:pt>
                <c:pt idx="5">
                  <c:v>48849248</c:v>
                </c:pt>
                <c:pt idx="6">
                  <c:v>41745239</c:v>
                </c:pt>
                <c:pt idx="7">
                  <c:v>1245902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2.0"/>
          <c:min val="7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C0DF91A-E5F2-4711-9B68-8FF8271AEF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3050B8B-409A-4BA6-8316-5639F4EB58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CA09D8E-2F71-447D-8564-0A9934F3B8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5AB2041-7C90-4BDB-A371-5A42432248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F3D021F-2D06-4D7F-A2C6-0FC86B61F2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918F922-3E83-4A93-A104-94F875E892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B1DD4A4-6A82-42BC-8AA5-880C00613A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DF4189C-60DE-423C-9E64-8DFF963515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06.0708</c:v>
                </c:pt>
                <c:pt idx="1">
                  <c:v>268.9765</c:v>
                </c:pt>
                <c:pt idx="2">
                  <c:v>459.3015</c:v>
                </c:pt>
                <c:pt idx="3">
                  <c:v>476.9653</c:v>
                </c:pt>
                <c:pt idx="4">
                  <c:v>184.4208</c:v>
                </c:pt>
                <c:pt idx="5">
                  <c:v>336.3607</c:v>
                </c:pt>
              </c:numCache>
            </c:numRef>
          </c:xVal>
          <c:yVal>
            <c:numRef>
              <c:f>Sheet1!$B$2:$B$7</c:f>
              <c:numCache>
                <c:formatCode>General</c:formatCode>
                <c:ptCount val="6"/>
                <c:pt idx="0">
                  <c:v>3.089</c:v>
                </c:pt>
                <c:pt idx="1">
                  <c:v>0.673</c:v>
                </c:pt>
                <c:pt idx="2">
                  <c:v>2.243</c:v>
                </c:pt>
                <c:pt idx="3">
                  <c:v>6.548</c:v>
                </c:pt>
                <c:pt idx="4">
                  <c:v>0.37</c:v>
                </c:pt>
                <c:pt idx="5">
                  <c:v>5.226</c:v>
                </c:pt>
              </c:numCache>
            </c:numRef>
          </c:yVal>
          <c:bubbleSize>
            <c:numRef>
              <c:f>Sheet1!$C$2:$C$7</c:f>
              <c:numCache>
                <c:formatCode>General</c:formatCode>
                <c:ptCount val="6"/>
                <c:pt idx="0">
                  <c:v>2911564</c:v>
                </c:pt>
                <c:pt idx="1">
                  <c:v>1397064</c:v>
                </c:pt>
                <c:pt idx="2">
                  <c:v>953510</c:v>
                </c:pt>
                <c:pt idx="3">
                  <c:v>741204</c:v>
                </c:pt>
                <c:pt idx="4">
                  <c:v>316835</c:v>
                </c:pt>
                <c:pt idx="5">
                  <c:v>22939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7.0"/>
          <c:min val="14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CF73EC55-D632-4B7E-B217-D3D303944C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16BB94E1-598A-4746-8966-05BA95731D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FFFDD653-C272-4026-9CE5-3832D1236D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4B1BBF40-C279-4A45-9635-8E5545CC67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B5071826-F2BE-4F68-8587-5B7CB65B5D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5C1B77C0-4F2A-4CD3-A0FD-CD7E0B521F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F4B4C109-1E40-4DDD-989F-5240454840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04978FFF-3F55-4C1E-A3F4-76CB9D7608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71.0169</c:v>
                </c:pt>
                <c:pt idx="1">
                  <c:v>135.572</c:v>
                </c:pt>
                <c:pt idx="2">
                  <c:v>117.3258</c:v>
                </c:pt>
                <c:pt idx="3">
                  <c:v>54.3689</c:v>
                </c:pt>
              </c:numCache>
            </c:numRef>
          </c:xVal>
          <c:yVal>
            <c:numRef>
              <c:f>Sheet1!$B$2:$B$5</c:f>
              <c:numCache>
                <c:formatCode>General</c:formatCode>
                <c:ptCount val="4"/>
                <c:pt idx="0">
                  <c:v>1.312</c:v>
                </c:pt>
                <c:pt idx="1">
                  <c:v>0.79</c:v>
                </c:pt>
                <c:pt idx="2">
                  <c:v>1.079</c:v>
                </c:pt>
                <c:pt idx="3">
                  <c:v>0.421</c:v>
                </c:pt>
              </c:numCache>
            </c:numRef>
          </c:yVal>
          <c:bubbleSize>
            <c:numRef>
              <c:f>Sheet1!$C$2:$C$5</c:f>
              <c:numCache>
                <c:formatCode>General</c:formatCode>
                <c:ptCount val="4"/>
                <c:pt idx="0">
                  <c:v>1738558</c:v>
                </c:pt>
                <c:pt idx="1">
                  <c:v>1670789</c:v>
                </c:pt>
                <c:pt idx="2">
                  <c:v>903761</c:v>
                </c:pt>
                <c:pt idx="3">
                  <c:v>5349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5.0"/>
          <c:min val="4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F2EA512-C860-47FB-B11C-76486346E2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86213D3-3A14-46C9-9742-F776755C25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0A45411-2A00-4490-AC90-25BD836DB2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15706F2-F1EB-4B91-8EC9-413146286E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BBF5EE5-C25E-49CB-A1C9-71F3026E12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2D5B190-08D8-4414-9102-5875F93A7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8FE12CC-D075-48FF-8870-32E7D1837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A6B0C79-BC96-4B49-BAC7-75873916CB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53.3346</c:v>
                </c:pt>
                <c:pt idx="1">
                  <c:v>240.1936</c:v>
                </c:pt>
                <c:pt idx="2">
                  <c:v>76.3673</c:v>
                </c:pt>
                <c:pt idx="3">
                  <c:v>74.2019</c:v>
                </c:pt>
                <c:pt idx="4">
                  <c:v>688.1282</c:v>
                </c:pt>
                <c:pt idx="5">
                  <c:v>577.5587</c:v>
                </c:pt>
                <c:pt idx="6">
                  <c:v>135.7533</c:v>
                </c:pt>
              </c:numCache>
            </c:numRef>
          </c:xVal>
          <c:yVal>
            <c:numRef>
              <c:f>Sheet1!$B$2:$B$8</c:f>
              <c:numCache>
                <c:formatCode>General</c:formatCode>
                <c:ptCount val="7"/>
                <c:pt idx="0">
                  <c:v>1.283</c:v>
                </c:pt>
                <c:pt idx="1">
                  <c:v>1.079</c:v>
                </c:pt>
                <c:pt idx="2">
                  <c:v>0.521</c:v>
                </c:pt>
                <c:pt idx="3">
                  <c:v>0.549</c:v>
                </c:pt>
                <c:pt idx="4">
                  <c:v>4.076</c:v>
                </c:pt>
                <c:pt idx="5">
                  <c:v>2.615</c:v>
                </c:pt>
                <c:pt idx="6">
                  <c:v>0.522</c:v>
                </c:pt>
              </c:numCache>
            </c:numRef>
          </c:yVal>
          <c:bubbleSize>
            <c:numRef>
              <c:f>Sheet1!$C$2:$C$8</c:f>
              <c:numCache>
                <c:formatCode>General</c:formatCode>
                <c:ptCount val="7"/>
                <c:pt idx="0">
                  <c:v>61277586</c:v>
                </c:pt>
                <c:pt idx="1">
                  <c:v>40429874</c:v>
                </c:pt>
                <c:pt idx="2">
                  <c:v>13143504</c:v>
                </c:pt>
                <c:pt idx="3">
                  <c:v>5378671</c:v>
                </c:pt>
                <c:pt idx="4">
                  <c:v>2039612</c:v>
                </c:pt>
                <c:pt idx="5">
                  <c:v>1819310</c:v>
                </c:pt>
                <c:pt idx="6">
                  <c:v>49034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6.0"/>
          <c:min val="5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7A9C2B-E293-4DE2-A47E-BBE96D40D6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D93429C-1F88-4BC0-96B5-4807CF2EF0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62AFCCD-58C1-45E2-B7DF-164E4D37B9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09CB2DA-607E-44C0-B037-441A407D8B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F9B70B2-5AB6-4EAB-9160-FB2B656384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8EE2B00-6EC7-4AE6-BB4A-6BF5C372A5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58F51E3-5B69-4056-AF93-FA32651F7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BF79F10-8F9A-45A4-B999-AAB59E345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3503</c:v>
                </c:pt>
                <c:pt idx="1">
                  <c:v>196.3721</c:v>
                </c:pt>
                <c:pt idx="2">
                  <c:v>216.8486</c:v>
                </c:pt>
                <c:pt idx="3">
                  <c:v>291.0402</c:v>
                </c:pt>
                <c:pt idx="4">
                  <c:v>590.7656</c:v>
                </c:pt>
                <c:pt idx="5">
                  <c:v>87.4426</c:v>
                </c:pt>
                <c:pt idx="6">
                  <c:v>569.712</c:v>
                </c:pt>
                <c:pt idx="7">
                  <c:v>227.9861</c:v>
                </c:pt>
              </c:numCache>
            </c:numRef>
          </c:xVal>
          <c:yVal>
            <c:numRef>
              <c:f>Sheet1!$B$2:$B$9</c:f>
              <c:numCache>
                <c:formatCode>General</c:formatCode>
                <c:ptCount val="8"/>
                <c:pt idx="0">
                  <c:v>1.003</c:v>
                </c:pt>
                <c:pt idx="1">
                  <c:v>0.71</c:v>
                </c:pt>
                <c:pt idx="2">
                  <c:v>0.681</c:v>
                </c:pt>
                <c:pt idx="3">
                  <c:v>1.894</c:v>
                </c:pt>
                <c:pt idx="4">
                  <c:v>3.917</c:v>
                </c:pt>
                <c:pt idx="5">
                  <c:v>0.393</c:v>
                </c:pt>
                <c:pt idx="6">
                  <c:v>4.841</c:v>
                </c:pt>
                <c:pt idx="7">
                  <c:v>2.523</c:v>
                </c:pt>
              </c:numCache>
            </c:numRef>
          </c:yVal>
          <c:bubbleSize>
            <c:numRef>
              <c:f>Sheet1!$C$2:$C$9</c:f>
              <c:numCache>
                <c:formatCode>General</c:formatCode>
                <c:ptCount val="8"/>
                <c:pt idx="0">
                  <c:v>98282653</c:v>
                </c:pt>
                <c:pt idx="1">
                  <c:v>54081083</c:v>
                </c:pt>
                <c:pt idx="2">
                  <c:v>32135440</c:v>
                </c:pt>
                <c:pt idx="3">
                  <c:v>28036189</c:v>
                </c:pt>
                <c:pt idx="4">
                  <c:v>24994112</c:v>
                </c:pt>
                <c:pt idx="5">
                  <c:v>10334315</c:v>
                </c:pt>
                <c:pt idx="6">
                  <c:v>8938211</c:v>
                </c:pt>
                <c:pt idx="7">
                  <c:v>301762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0"/>
          <c:min val="7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443ED72-264C-48B7-87E1-5DF1A94C0A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58105EC-55B1-43D9-80FF-7D75439582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0940B5C-D6F2-46F7-9AC8-228BE1999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19F2966-6341-4031-AA42-7764066E0A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2E2D4D1-EBEF-4C83-BF31-FA11E71F94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1F58B5-DEA3-4733-A702-94C4AFA367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1EE82B0-93CA-415E-80CB-85C4484CE5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4D8B9C2-EA77-4B68-8B23-1FEFF3D7D6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10.5</c:v>
                </c:pt>
                <c:pt idx="1">
                  <c:v>270.6892</c:v>
                </c:pt>
                <c:pt idx="2">
                  <c:v>504.2633</c:v>
                </c:pt>
                <c:pt idx="3">
                  <c:v>542.4038</c:v>
                </c:pt>
                <c:pt idx="4">
                  <c:v>169.7456</c:v>
                </c:pt>
                <c:pt idx="5">
                  <c:v>852.3421</c:v>
                </c:pt>
              </c:numCache>
            </c:numRef>
          </c:xVal>
          <c:yVal>
            <c:numRef>
              <c:f>Sheet1!$B$2:$B$7</c:f>
              <c:numCache>
                <c:formatCode>General</c:formatCode>
                <c:ptCount val="6"/>
                <c:pt idx="0">
                  <c:v>4.59</c:v>
                </c:pt>
                <c:pt idx="1">
                  <c:v>0.716</c:v>
                </c:pt>
                <c:pt idx="2">
                  <c:v>2.9</c:v>
                </c:pt>
                <c:pt idx="3">
                  <c:v>10.905</c:v>
                </c:pt>
                <c:pt idx="4">
                  <c:v>0.365</c:v>
                </c:pt>
                <c:pt idx="5">
                  <c:v>0.0</c:v>
                </c:pt>
              </c:numCache>
            </c:numRef>
          </c:yVal>
          <c:bubbleSize>
            <c:numRef>
              <c:f>Sheet1!$C$2:$C$7</c:f>
              <c:numCache>
                <c:formatCode>General</c:formatCode>
                <c:ptCount val="6"/>
                <c:pt idx="0">
                  <c:v>484737</c:v>
                </c:pt>
                <c:pt idx="1">
                  <c:v>296134</c:v>
                </c:pt>
                <c:pt idx="2">
                  <c:v>237508</c:v>
                </c:pt>
                <c:pt idx="3">
                  <c:v>141025</c:v>
                </c:pt>
                <c:pt idx="4">
                  <c:v>48038</c:v>
                </c:pt>
                <c:pt idx="5">
                  <c:v>3238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23.0"/>
          <c:min val="13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CED8EDB-66A3-4F1D-9910-EC7B4C3FBE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2AB89D3-78EF-426A-9422-C5D174C0F1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FDEE7A9-3536-4B7C-98D2-D4DB48AB9A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7B10956-967B-4D90-9BEF-9E99A394C2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3789F5A-3BD5-4DD8-A6F8-90EC849FB0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D105B8A-65CD-4EE7-9472-F236F0A502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DC896CE-DFB3-4B14-AEFC-202EFC3432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0781BF4-18DE-4164-B6BF-6CA6F14A6E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8.8599</c:v>
                </c:pt>
                <c:pt idx="1">
                  <c:v>239.5594</c:v>
                </c:pt>
                <c:pt idx="2">
                  <c:v>74.9831</c:v>
                </c:pt>
                <c:pt idx="3">
                  <c:v>74.6609</c:v>
                </c:pt>
                <c:pt idx="4">
                  <c:v>741.2413</c:v>
                </c:pt>
                <c:pt idx="5">
                  <c:v>569.5091</c:v>
                </c:pt>
                <c:pt idx="6">
                  <c:v>560.7336</c:v>
                </c:pt>
                <c:pt idx="7">
                  <c:v>137.1001</c:v>
                </c:pt>
              </c:numCache>
            </c:numRef>
          </c:xVal>
          <c:yVal>
            <c:numRef>
              <c:f>Sheet1!$B$2:$B$9</c:f>
              <c:numCache>
                <c:formatCode>General</c:formatCode>
                <c:ptCount val="8"/>
                <c:pt idx="0">
                  <c:v>1.295</c:v>
                </c:pt>
                <c:pt idx="1">
                  <c:v>1.099</c:v>
                </c:pt>
                <c:pt idx="2">
                  <c:v>0.516</c:v>
                </c:pt>
                <c:pt idx="3">
                  <c:v>0.56</c:v>
                </c:pt>
                <c:pt idx="4">
                  <c:v>4.442</c:v>
                </c:pt>
                <c:pt idx="5">
                  <c:v>2.529</c:v>
                </c:pt>
                <c:pt idx="6">
                  <c:v>2.658</c:v>
                </c:pt>
                <c:pt idx="7">
                  <c:v>0.525</c:v>
                </c:pt>
              </c:numCache>
            </c:numRef>
          </c:yVal>
          <c:bubbleSize>
            <c:numRef>
              <c:f>Sheet1!$C$2:$C$9</c:f>
              <c:numCache>
                <c:formatCode>General</c:formatCode>
                <c:ptCount val="8"/>
                <c:pt idx="0">
                  <c:v>12991918</c:v>
                </c:pt>
                <c:pt idx="1">
                  <c:v>7281167</c:v>
                </c:pt>
                <c:pt idx="2">
                  <c:v>2686718</c:v>
                </c:pt>
                <c:pt idx="3">
                  <c:v>1376673</c:v>
                </c:pt>
                <c:pt idx="4">
                  <c:v>405459</c:v>
                </c:pt>
                <c:pt idx="5">
                  <c:v>343414</c:v>
                </c:pt>
                <c:pt idx="6">
                  <c:v>298871</c:v>
                </c:pt>
                <c:pt idx="7">
                  <c:v>15478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89.0"/>
          <c:min val="6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0AA3BB6-DA79-4975-937D-597ADBEE22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9FE9882-12D3-4BAE-A92C-4A582EA61A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A5D6B21-E531-41F0-88B2-7B56AF333B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8BC6212-6AF5-4092-A422-856D2F45C1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1EDCEE0-B545-4DAE-84F4-D4F008B6D3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D4D0295-B1E7-4AEA-8A04-12A7CD5129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02B16BE-FA0A-4390-AAD4-ED15CD5C92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FCD0D71-5A03-4AFE-8A8D-EC468AF433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3.249</c:v>
                </c:pt>
                <c:pt idx="1">
                  <c:v>551.7873</c:v>
                </c:pt>
                <c:pt idx="2">
                  <c:v>195.2265</c:v>
                </c:pt>
                <c:pt idx="3">
                  <c:v>196.3084</c:v>
                </c:pt>
                <c:pt idx="4">
                  <c:v>544.4672</c:v>
                </c:pt>
                <c:pt idx="5">
                  <c:v>293.068</c:v>
                </c:pt>
                <c:pt idx="6">
                  <c:v>574.8097</c:v>
                </c:pt>
                <c:pt idx="7">
                  <c:v>220.0135</c:v>
                </c:pt>
              </c:numCache>
            </c:numRef>
          </c:xVal>
          <c:yVal>
            <c:numRef>
              <c:f>Sheet1!$B$2:$B$9</c:f>
              <c:numCache>
                <c:formatCode>General</c:formatCode>
                <c:ptCount val="8"/>
                <c:pt idx="0">
                  <c:v>0.869</c:v>
                </c:pt>
                <c:pt idx="1">
                  <c:v>3.241</c:v>
                </c:pt>
                <c:pt idx="2">
                  <c:v>0.563</c:v>
                </c:pt>
                <c:pt idx="3">
                  <c:v>0.56</c:v>
                </c:pt>
                <c:pt idx="4">
                  <c:v>4.427</c:v>
                </c:pt>
                <c:pt idx="5">
                  <c:v>1.586</c:v>
                </c:pt>
                <c:pt idx="6">
                  <c:v>3.967</c:v>
                </c:pt>
                <c:pt idx="7">
                  <c:v>2.045</c:v>
                </c:pt>
              </c:numCache>
            </c:numRef>
          </c:yVal>
          <c:bubbleSize>
            <c:numRef>
              <c:f>Sheet1!$C$2:$C$9</c:f>
              <c:numCache>
                <c:formatCode>General</c:formatCode>
                <c:ptCount val="8"/>
                <c:pt idx="0">
                  <c:v>68580640</c:v>
                </c:pt>
                <c:pt idx="1">
                  <c:v>37358209</c:v>
                </c:pt>
                <c:pt idx="2">
                  <c:v>32245369</c:v>
                </c:pt>
                <c:pt idx="3">
                  <c:v>24731918</c:v>
                </c:pt>
                <c:pt idx="4">
                  <c:v>19616609</c:v>
                </c:pt>
                <c:pt idx="5">
                  <c:v>19334577</c:v>
                </c:pt>
                <c:pt idx="6">
                  <c:v>12419913</c:v>
                </c:pt>
                <c:pt idx="7">
                  <c:v>191719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0.0"/>
          <c:min val="15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DE4DA7-A438-48EF-8C35-93E03FECE5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83ECFB5-CB9C-4650-A481-CCE22460ED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6343092-BFFB-4031-BF94-B7125E23E8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2AAAD9D-DC0C-4BDA-8922-5764470CF8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9981071-4D36-49AB-9AB9-CC4338CFF5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8D0FFA4-880C-4C94-8D1C-120E01BD5F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802EEAB-2D10-490F-A394-2E98750636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EAE5C3D-D63E-48EE-923B-59ECB01D21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588.7583</c:v>
                </c:pt>
                <c:pt idx="1">
                  <c:v>253.0152</c:v>
                </c:pt>
                <c:pt idx="2">
                  <c:v>430.094</c:v>
                </c:pt>
                <c:pt idx="3">
                  <c:v>382.2512</c:v>
                </c:pt>
                <c:pt idx="4">
                  <c:v>248.8271</c:v>
                </c:pt>
                <c:pt idx="5">
                  <c:v>200.5139</c:v>
                </c:pt>
              </c:numCache>
            </c:numRef>
          </c:xVal>
          <c:yVal>
            <c:numRef>
              <c:f>Sheet1!$B$2:$B$7</c:f>
              <c:numCache>
                <c:formatCode>General</c:formatCode>
                <c:ptCount val="6"/>
                <c:pt idx="0">
                  <c:v>1.933</c:v>
                </c:pt>
                <c:pt idx="1">
                  <c:v>0.584</c:v>
                </c:pt>
                <c:pt idx="2">
                  <c:v>4.19</c:v>
                </c:pt>
                <c:pt idx="3">
                  <c:v>1.159</c:v>
                </c:pt>
                <c:pt idx="4">
                  <c:v>2.893</c:v>
                </c:pt>
                <c:pt idx="5">
                  <c:v>0.379</c:v>
                </c:pt>
              </c:numCache>
            </c:numRef>
          </c:yVal>
          <c:bubbleSize>
            <c:numRef>
              <c:f>Sheet1!$C$2:$C$7</c:f>
              <c:numCache>
                <c:formatCode>General</c:formatCode>
                <c:ptCount val="6"/>
                <c:pt idx="0">
                  <c:v>1205777</c:v>
                </c:pt>
                <c:pt idx="1">
                  <c:v>365860</c:v>
                </c:pt>
                <c:pt idx="2">
                  <c:v>288163</c:v>
                </c:pt>
                <c:pt idx="3">
                  <c:v>241965</c:v>
                </c:pt>
                <c:pt idx="4">
                  <c:v>113714</c:v>
                </c:pt>
                <c:pt idx="5">
                  <c:v>5032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7.0"/>
          <c:min val="16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1D483C1-26E5-47A8-A5CD-55345E43C7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E2A05FB-4203-443A-A80F-52B8957A6C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0ACF79C-C1C0-4949-9287-D5CC32FC4C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587AE6D-97CA-44A7-A4C2-2464F19E3A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3E44D90-F0FE-4321-9D75-CA91440B3B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34D8052-327D-4972-89D2-386CB7EE25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901886C-636D-4808-B0B9-51137D43CA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D4E729D-C501-4C93-8678-52FD6DB196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6.9843</c:v>
                </c:pt>
                <c:pt idx="1">
                  <c:v>235.8278</c:v>
                </c:pt>
                <c:pt idx="2">
                  <c:v>73.1552</c:v>
                </c:pt>
                <c:pt idx="3">
                  <c:v>74.0953</c:v>
                </c:pt>
                <c:pt idx="4">
                  <c:v>632.3971</c:v>
                </c:pt>
                <c:pt idx="5">
                  <c:v>565.0825</c:v>
                </c:pt>
                <c:pt idx="6">
                  <c:v>558.3299</c:v>
                </c:pt>
                <c:pt idx="7">
                  <c:v>148.3627</c:v>
                </c:pt>
              </c:numCache>
            </c:numRef>
          </c:xVal>
          <c:yVal>
            <c:numRef>
              <c:f>Sheet1!$B$2:$B$9</c:f>
              <c:numCache>
                <c:formatCode>General</c:formatCode>
                <c:ptCount val="8"/>
                <c:pt idx="0">
                  <c:v>1.256</c:v>
                </c:pt>
                <c:pt idx="1">
                  <c:v>1.01</c:v>
                </c:pt>
                <c:pt idx="2">
                  <c:v>0.497</c:v>
                </c:pt>
                <c:pt idx="3">
                  <c:v>0.531</c:v>
                </c:pt>
                <c:pt idx="4">
                  <c:v>3.474</c:v>
                </c:pt>
                <c:pt idx="5">
                  <c:v>2.331</c:v>
                </c:pt>
                <c:pt idx="6">
                  <c:v>2.461</c:v>
                </c:pt>
                <c:pt idx="7">
                  <c:v>0.616</c:v>
                </c:pt>
              </c:numCache>
            </c:numRef>
          </c:yVal>
          <c:bubbleSize>
            <c:numRef>
              <c:f>Sheet1!$C$2:$C$9</c:f>
              <c:numCache>
                <c:formatCode>General</c:formatCode>
                <c:ptCount val="8"/>
                <c:pt idx="0">
                  <c:v>8296738</c:v>
                </c:pt>
                <c:pt idx="1">
                  <c:v>6267125</c:v>
                </c:pt>
                <c:pt idx="2">
                  <c:v>1956024</c:v>
                </c:pt>
                <c:pt idx="3">
                  <c:v>793783</c:v>
                </c:pt>
                <c:pt idx="4">
                  <c:v>694372</c:v>
                </c:pt>
                <c:pt idx="5">
                  <c:v>534003</c:v>
                </c:pt>
                <c:pt idx="6">
                  <c:v>431589</c:v>
                </c:pt>
                <c:pt idx="7">
                  <c:v>3026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59.0"/>
          <c:min val="5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4D930F2-1230-4748-AC32-2CFB9EDE40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08794C6-92AF-4430-94E7-9777D142DF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B418527-7B1A-44B2-AE98-B60076DCCE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BDAB89D-5C7A-4903-9176-6FA154B729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1D6415D-9C3D-45DB-8CA2-4E7DA8642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285B25A-4A4B-4CDB-A08D-9CE13E7379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C6906A7-F9C4-4C9A-8DF5-7697F551A0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8D1661F-DF92-4940-A061-A5D20E39B8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2.3264</c:v>
                </c:pt>
                <c:pt idx="1">
                  <c:v>221.7583</c:v>
                </c:pt>
                <c:pt idx="2">
                  <c:v>233.3937</c:v>
                </c:pt>
                <c:pt idx="3">
                  <c:v>282.0527</c:v>
                </c:pt>
                <c:pt idx="4">
                  <c:v>89.0421</c:v>
                </c:pt>
                <c:pt idx="5">
                  <c:v>602.8249</c:v>
                </c:pt>
                <c:pt idx="6">
                  <c:v>73.9626</c:v>
                </c:pt>
                <c:pt idx="7">
                  <c:v>156.0933</c:v>
                </c:pt>
              </c:numCache>
            </c:numRef>
          </c:xVal>
          <c:yVal>
            <c:numRef>
              <c:f>Sheet1!$B$2:$B$9</c:f>
              <c:numCache>
                <c:formatCode>General</c:formatCode>
                <c:ptCount val="8"/>
                <c:pt idx="0">
                  <c:v>1.109</c:v>
                </c:pt>
                <c:pt idx="1">
                  <c:v>0.827</c:v>
                </c:pt>
                <c:pt idx="2">
                  <c:v>0.859</c:v>
                </c:pt>
                <c:pt idx="3">
                  <c:v>2.017</c:v>
                </c:pt>
                <c:pt idx="4">
                  <c:v>0.476</c:v>
                </c:pt>
                <c:pt idx="5">
                  <c:v>4.644</c:v>
                </c:pt>
                <c:pt idx="6">
                  <c:v>0.433</c:v>
                </c:pt>
                <c:pt idx="7">
                  <c:v>2.176</c:v>
                </c:pt>
              </c:numCache>
            </c:numRef>
          </c:yVal>
          <c:bubbleSize>
            <c:numRef>
              <c:f>Sheet1!$C$2:$C$9</c:f>
              <c:numCache>
                <c:formatCode>General</c:formatCode>
                <c:ptCount val="8"/>
                <c:pt idx="0">
                  <c:v>94584130</c:v>
                </c:pt>
                <c:pt idx="1">
                  <c:v>45779791</c:v>
                </c:pt>
                <c:pt idx="2">
                  <c:v>27044258</c:v>
                </c:pt>
                <c:pt idx="3">
                  <c:v>13126731</c:v>
                </c:pt>
                <c:pt idx="4">
                  <c:v>8014855</c:v>
                </c:pt>
                <c:pt idx="5">
                  <c:v>3622375</c:v>
                </c:pt>
                <c:pt idx="6">
                  <c:v>2439508</c:v>
                </c:pt>
                <c:pt idx="7">
                  <c:v>223447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3.0"/>
          <c:min val="5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3664C4D-8AFD-4EBF-A7AC-C015CCC8E0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BD822C7-4971-493E-9C9E-264DB60184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EB03B0A-5299-4363-B642-2A6F252863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C9FEAA0-B494-45A0-8043-BDC4E5086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068E7EC-1FC2-437C-A33E-FF84A4454F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516858D-2D41-48E4-A4CE-78DE0EB1CE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3597D80-332D-4CDE-88A0-C44EEB6F5B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E04F47F-7A21-4714-B28E-A1C3641187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660.1452</c:v>
                </c:pt>
                <c:pt idx="1">
                  <c:v>300.12</c:v>
                </c:pt>
                <c:pt idx="2">
                  <c:v>488.1643</c:v>
                </c:pt>
                <c:pt idx="3">
                  <c:v>210.3782</c:v>
                </c:pt>
                <c:pt idx="4">
                  <c:v>527.0556</c:v>
                </c:pt>
              </c:numCache>
            </c:numRef>
          </c:xVal>
          <c:yVal>
            <c:numRef>
              <c:f>Sheet1!$B$2:$B$6</c:f>
              <c:numCache>
                <c:formatCode>General</c:formatCode>
                <c:ptCount val="5"/>
                <c:pt idx="0">
                  <c:v>13.774</c:v>
                </c:pt>
                <c:pt idx="1">
                  <c:v>0.778</c:v>
                </c:pt>
                <c:pt idx="2">
                  <c:v>2.734</c:v>
                </c:pt>
                <c:pt idx="3">
                  <c:v>0.493</c:v>
                </c:pt>
                <c:pt idx="4">
                  <c:v>0.0</c:v>
                </c:pt>
              </c:numCache>
            </c:numRef>
          </c:yVal>
          <c:bubbleSize>
            <c:numRef>
              <c:f>Sheet1!$C$2:$C$6</c:f>
              <c:numCache>
                <c:formatCode>General</c:formatCode>
                <c:ptCount val="5"/>
                <c:pt idx="0">
                  <c:v>163716</c:v>
                </c:pt>
                <c:pt idx="1">
                  <c:v>127551</c:v>
                </c:pt>
                <c:pt idx="2">
                  <c:v>103979</c:v>
                </c:pt>
                <c:pt idx="3">
                  <c:v>32819</c:v>
                </c:pt>
                <c:pt idx="4">
                  <c:v>948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92.0"/>
          <c:min val="16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9A77F13-F302-4E08-A15F-2F99A7D472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46B122E-AFCE-42E0-A157-E31F0FE533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BF3AC64-29B0-47A9-95C5-252B62EA7D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803196D-6523-4FB1-8DD0-6665FEDAC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627CADC-48CB-47FA-9C3B-6326CF6A30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CD0905C-673E-44CF-9832-40F653FED4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F4B0F90-A9E9-4A63-A4AE-3C911F7379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D646E3C-4C21-46A9-AC7B-64C6AFF93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1.1783</c:v>
                </c:pt>
                <c:pt idx="1">
                  <c:v>217.6095</c:v>
                </c:pt>
                <c:pt idx="2">
                  <c:v>81.7656</c:v>
                </c:pt>
                <c:pt idx="3">
                  <c:v>72.9434</c:v>
                </c:pt>
                <c:pt idx="4">
                  <c:v>310.0258</c:v>
                </c:pt>
                <c:pt idx="5">
                  <c:v>125.9365</c:v>
                </c:pt>
              </c:numCache>
            </c:numRef>
          </c:xVal>
          <c:yVal>
            <c:numRef>
              <c:f>Sheet1!$B$2:$B$7</c:f>
              <c:numCache>
                <c:formatCode>General</c:formatCode>
                <c:ptCount val="6"/>
                <c:pt idx="0">
                  <c:v>1.311</c:v>
                </c:pt>
                <c:pt idx="1">
                  <c:v>1.046</c:v>
                </c:pt>
                <c:pt idx="2">
                  <c:v>0.533</c:v>
                </c:pt>
                <c:pt idx="3">
                  <c:v>0.573</c:v>
                </c:pt>
                <c:pt idx="4">
                  <c:v>1.702</c:v>
                </c:pt>
                <c:pt idx="5">
                  <c:v>0.514</c:v>
                </c:pt>
              </c:numCache>
            </c:numRef>
          </c:yVal>
          <c:bubbleSize>
            <c:numRef>
              <c:f>Sheet1!$C$2:$C$7</c:f>
              <c:numCache>
                <c:formatCode>General</c:formatCode>
                <c:ptCount val="6"/>
                <c:pt idx="0">
                  <c:v>12335062</c:v>
                </c:pt>
                <c:pt idx="1">
                  <c:v>6660591</c:v>
                </c:pt>
                <c:pt idx="2">
                  <c:v>2139478</c:v>
                </c:pt>
                <c:pt idx="3">
                  <c:v>763280</c:v>
                </c:pt>
                <c:pt idx="4">
                  <c:v>288634</c:v>
                </c:pt>
                <c:pt idx="5">
                  <c:v>7342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72.0"/>
          <c:min val="5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AB64E43-1DC6-4289-898C-5C3690026F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5A1E24D-5EE1-45F7-82F2-AACF4052CE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8C18ECB-CE5B-45E6-B114-24C76D2A3F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4C56524-DABB-4798-A50F-74032B03CF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2BDD072-8F8C-44BF-AA0F-205DB76FF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DD2CCA8-BFE8-47B7-A171-EAB512ED68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5BF58D1-057C-4315-B2B9-73E43A17B7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B846829-9D17-404B-9032-0449EA2688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4.6602</c:v>
                </c:pt>
                <c:pt idx="1">
                  <c:v>552.8728</c:v>
                </c:pt>
                <c:pt idx="2">
                  <c:v>195.1768</c:v>
                </c:pt>
                <c:pt idx="3">
                  <c:v>203.6603</c:v>
                </c:pt>
                <c:pt idx="4">
                  <c:v>544.9942</c:v>
                </c:pt>
                <c:pt idx="5">
                  <c:v>293.068</c:v>
                </c:pt>
                <c:pt idx="6">
                  <c:v>574.2405</c:v>
                </c:pt>
                <c:pt idx="7">
                  <c:v>220.0135</c:v>
                </c:pt>
              </c:numCache>
            </c:numRef>
          </c:xVal>
          <c:yVal>
            <c:numRef>
              <c:f>Sheet1!$B$2:$B$9</c:f>
              <c:numCache>
                <c:formatCode>General</c:formatCode>
                <c:ptCount val="8"/>
                <c:pt idx="0">
                  <c:v>0.895</c:v>
                </c:pt>
                <c:pt idx="1">
                  <c:v>3.38</c:v>
                </c:pt>
                <c:pt idx="2">
                  <c:v>0.594</c:v>
                </c:pt>
                <c:pt idx="3">
                  <c:v>0.594</c:v>
                </c:pt>
                <c:pt idx="4">
                  <c:v>4.491</c:v>
                </c:pt>
                <c:pt idx="5">
                  <c:v>1.676</c:v>
                </c:pt>
                <c:pt idx="6">
                  <c:v>3.943</c:v>
                </c:pt>
                <c:pt idx="7">
                  <c:v>2.161</c:v>
                </c:pt>
              </c:numCache>
            </c:numRef>
          </c:yVal>
          <c:bubbleSize>
            <c:numRef>
              <c:f>Sheet1!$C$2:$C$9</c:f>
              <c:numCache>
                <c:formatCode>General</c:formatCode>
                <c:ptCount val="8"/>
                <c:pt idx="0">
                  <c:v>76877378</c:v>
                </c:pt>
                <c:pt idx="1">
                  <c:v>38563986</c:v>
                </c:pt>
                <c:pt idx="2">
                  <c:v>32325964</c:v>
                </c:pt>
                <c:pt idx="3">
                  <c:v>31364903</c:v>
                </c:pt>
                <c:pt idx="4">
                  <c:v>20599144</c:v>
                </c:pt>
                <c:pt idx="5">
                  <c:v>19334577</c:v>
                </c:pt>
                <c:pt idx="6">
                  <c:v>12851502</c:v>
                </c:pt>
                <c:pt idx="7">
                  <c:v>191719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9.0"/>
          <c:min val="156.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80BFC5B-E923-49FD-8F4B-FBD3C7F19C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756BE98-D568-41BD-BF83-CA3DA0D6A3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F646B3A-AFBE-4D90-9CF7-13727D79C4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D19670C-F9B3-4AEA-AD22-F826802C2E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7C270F5-043C-42BC-89FC-5F6C10ED0D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9007171-9C8F-42D5-BB6F-EB707428B1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C19F295-7B2A-4D8C-809E-11273B560A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4657A0E-D5B0-403F-901A-1F2966E760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0.0179</c:v>
                </c:pt>
                <c:pt idx="1">
                  <c:v>211.3991</c:v>
                </c:pt>
                <c:pt idx="2">
                  <c:v>225.7719</c:v>
                </c:pt>
                <c:pt idx="3">
                  <c:v>589.7584</c:v>
                </c:pt>
                <c:pt idx="4">
                  <c:v>290.1049</c:v>
                </c:pt>
                <c:pt idx="5">
                  <c:v>87.5479</c:v>
                </c:pt>
                <c:pt idx="6">
                  <c:v>592.5708</c:v>
                </c:pt>
                <c:pt idx="7">
                  <c:v>214.8602</c:v>
                </c:pt>
              </c:numCache>
            </c:numRef>
          </c:xVal>
          <c:yVal>
            <c:numRef>
              <c:f>Sheet1!$B$2:$B$9</c:f>
              <c:numCache>
                <c:formatCode>General</c:formatCode>
                <c:ptCount val="8"/>
                <c:pt idx="0">
                  <c:v>1.019</c:v>
                </c:pt>
                <c:pt idx="1">
                  <c:v>0.728</c:v>
                </c:pt>
                <c:pt idx="2">
                  <c:v>0.71</c:v>
                </c:pt>
                <c:pt idx="3">
                  <c:v>3.763</c:v>
                </c:pt>
                <c:pt idx="4">
                  <c:v>1.915</c:v>
                </c:pt>
                <c:pt idx="5">
                  <c:v>0.434</c:v>
                </c:pt>
                <c:pt idx="6">
                  <c:v>5.137</c:v>
                </c:pt>
                <c:pt idx="7">
                  <c:v>2.565</c:v>
                </c:pt>
              </c:numCache>
            </c:numRef>
          </c:yVal>
          <c:bubbleSize>
            <c:numRef>
              <c:f>Sheet1!$C$2:$C$9</c:f>
              <c:numCache>
                <c:formatCode>General</c:formatCode>
                <c:ptCount val="8"/>
                <c:pt idx="0">
                  <c:v>77257194</c:v>
                </c:pt>
                <c:pt idx="1">
                  <c:v>38488805</c:v>
                </c:pt>
                <c:pt idx="2">
                  <c:v>24037481</c:v>
                </c:pt>
                <c:pt idx="3">
                  <c:v>17357178</c:v>
                </c:pt>
                <c:pt idx="4">
                  <c:v>16158843</c:v>
                </c:pt>
                <c:pt idx="5">
                  <c:v>9858772</c:v>
                </c:pt>
                <c:pt idx="6">
                  <c:v>6637385</c:v>
                </c:pt>
                <c:pt idx="7">
                  <c:v>184564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1.0"/>
          <c:min val="7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F481D86-91A0-4109-B392-0DDC5059B2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17BBA21-415B-40E0-8BF1-95CFD5C68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6AFFFC6-3C5E-4CB9-A716-9E3ED7ED3B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FF74DFE-28E7-449C-B70B-39045829BA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141BA55-63D7-42C9-B49C-D8F91A741E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D1C66B9-FDFB-490A-902C-811F8DA60E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B30C1AB-F788-4283-B4C9-D6EB591462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07745D3-3388-4AE4-A112-53ED205C27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21.1562</c:v>
                </c:pt>
                <c:pt idx="1">
                  <c:v>278.1296</c:v>
                </c:pt>
                <c:pt idx="2">
                  <c:v>484.3873</c:v>
                </c:pt>
                <c:pt idx="3">
                  <c:v>494.6894</c:v>
                </c:pt>
                <c:pt idx="4">
                  <c:v>171.5474</c:v>
                </c:pt>
                <c:pt idx="5">
                  <c:v>472.3294</c:v>
                </c:pt>
              </c:numCache>
            </c:numRef>
          </c:xVal>
          <c:yVal>
            <c:numRef>
              <c:f>Sheet1!$B$2:$B$7</c:f>
              <c:numCache>
                <c:formatCode>General</c:formatCode>
                <c:ptCount val="6"/>
                <c:pt idx="0">
                  <c:v>3.914</c:v>
                </c:pt>
                <c:pt idx="1">
                  <c:v>0.692</c:v>
                </c:pt>
                <c:pt idx="2">
                  <c:v>2.883</c:v>
                </c:pt>
                <c:pt idx="3">
                  <c:v>8.904</c:v>
                </c:pt>
                <c:pt idx="4">
                  <c:v>0.313</c:v>
                </c:pt>
                <c:pt idx="5">
                  <c:v>17.264</c:v>
                </c:pt>
              </c:numCache>
            </c:numRef>
          </c:yVal>
          <c:bubbleSize>
            <c:numRef>
              <c:f>Sheet1!$C$2:$C$7</c:f>
              <c:numCache>
                <c:formatCode>General</c:formatCode>
                <c:ptCount val="6"/>
                <c:pt idx="0">
                  <c:v>473321</c:v>
                </c:pt>
                <c:pt idx="1">
                  <c:v>212491</c:v>
                </c:pt>
                <c:pt idx="2">
                  <c:v>167598</c:v>
                </c:pt>
                <c:pt idx="3">
                  <c:v>144944</c:v>
                </c:pt>
                <c:pt idx="4">
                  <c:v>81485</c:v>
                </c:pt>
                <c:pt idx="5">
                  <c:v>4014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45.0"/>
          <c:min val="13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02F42A9-395D-4083-AC09-D794BBBD6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B930F04-E69B-4317-98C1-9663E22163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657DF85-F101-4273-806C-ADE2F6D23E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B9DC7C6-7115-4A76-A909-B6C5DFEDE9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3F73AB7-1757-4748-A6B4-F6E3E69E53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1D003CE-8287-46D2-A060-7BAF18046A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1DE54AD-71E9-454E-83E0-FFFD4F3C14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5BEEDA0-32E3-4082-8BB8-A7A32895CE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53.5657</c:v>
                </c:pt>
                <c:pt idx="1">
                  <c:v>241.4086</c:v>
                </c:pt>
                <c:pt idx="2">
                  <c:v>76.4867</c:v>
                </c:pt>
                <c:pt idx="3">
                  <c:v>74.5472</c:v>
                </c:pt>
                <c:pt idx="4">
                  <c:v>698.3951</c:v>
                </c:pt>
                <c:pt idx="5">
                  <c:v>594.6939</c:v>
                </c:pt>
                <c:pt idx="6">
                  <c:v>139.2897</c:v>
                </c:pt>
              </c:numCache>
            </c:numRef>
          </c:xVal>
          <c:yVal>
            <c:numRef>
              <c:f>Sheet1!$B$2:$B$8</c:f>
              <c:numCache>
                <c:formatCode>General</c:formatCode>
                <c:ptCount val="7"/>
                <c:pt idx="0">
                  <c:v>1.288</c:v>
                </c:pt>
                <c:pt idx="1">
                  <c:v>1.079</c:v>
                </c:pt>
                <c:pt idx="2">
                  <c:v>0.549</c:v>
                </c:pt>
                <c:pt idx="3">
                  <c:v>0.555</c:v>
                </c:pt>
                <c:pt idx="4">
                  <c:v>4.054</c:v>
                </c:pt>
                <c:pt idx="5">
                  <c:v>2.764</c:v>
                </c:pt>
                <c:pt idx="6">
                  <c:v>0.531</c:v>
                </c:pt>
              </c:numCache>
            </c:numRef>
          </c:yVal>
          <c:bubbleSize>
            <c:numRef>
              <c:f>Sheet1!$C$2:$C$8</c:f>
              <c:numCache>
                <c:formatCode>General</c:formatCode>
                <c:ptCount val="7"/>
                <c:pt idx="0">
                  <c:v>11074228</c:v>
                </c:pt>
                <c:pt idx="1">
                  <c:v>6712365</c:v>
                </c:pt>
                <c:pt idx="2">
                  <c:v>2603377</c:v>
                </c:pt>
                <c:pt idx="3">
                  <c:v>1038144</c:v>
                </c:pt>
                <c:pt idx="4">
                  <c:v>399482</c:v>
                </c:pt>
                <c:pt idx="5">
                  <c:v>349680</c:v>
                </c:pt>
                <c:pt idx="6">
                  <c:v>130793</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8.0"/>
          <c:min val="6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83FBE6E-F356-4FE1-BAA0-F7BA8FE7B1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14CDD3-CC21-4E72-B176-251B488CD5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53719B6-D045-4269-92B0-E66D841880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B7D1B3A-1223-46BA-8D99-E20379F18C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2542483-6EBB-4AC5-98D3-68A97865A4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26B0ABE-A99B-49AD-97A2-72AFA1EA57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4F59A3C-E233-4B29-BF95-AC3849B596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54E7C25-462F-49A8-B700-AFC8B4CF5C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4.644</c:v>
                </c:pt>
                <c:pt idx="1">
                  <c:v>216.9883</c:v>
                </c:pt>
                <c:pt idx="2">
                  <c:v>239.3914</c:v>
                </c:pt>
                <c:pt idx="3">
                  <c:v>586.881</c:v>
                </c:pt>
                <c:pt idx="4">
                  <c:v>296.9305</c:v>
                </c:pt>
                <c:pt idx="5">
                  <c:v>88.2402</c:v>
                </c:pt>
                <c:pt idx="6">
                  <c:v>572.4655</c:v>
                </c:pt>
                <c:pt idx="7">
                  <c:v>221.1781</c:v>
                </c:pt>
              </c:numCache>
            </c:numRef>
          </c:xVal>
          <c:yVal>
            <c:numRef>
              <c:f>Sheet1!$B$2:$B$9</c:f>
              <c:numCache>
                <c:formatCode>General</c:formatCode>
                <c:ptCount val="8"/>
                <c:pt idx="0">
                  <c:v>1.037</c:v>
                </c:pt>
                <c:pt idx="1">
                  <c:v>0.75</c:v>
                </c:pt>
                <c:pt idx="2">
                  <c:v>0.754</c:v>
                </c:pt>
                <c:pt idx="3">
                  <c:v>3.708</c:v>
                </c:pt>
                <c:pt idx="4">
                  <c:v>2.056</c:v>
                </c:pt>
                <c:pt idx="5">
                  <c:v>0.407</c:v>
                </c:pt>
                <c:pt idx="6">
                  <c:v>6.471</c:v>
                </c:pt>
                <c:pt idx="7">
                  <c:v>2.597</c:v>
                </c:pt>
              </c:numCache>
            </c:numRef>
          </c:yVal>
          <c:bubbleSize>
            <c:numRef>
              <c:f>Sheet1!$C$2:$C$9</c:f>
              <c:numCache>
                <c:formatCode>General</c:formatCode>
                <c:ptCount val="8"/>
                <c:pt idx="0">
                  <c:v>62386660</c:v>
                </c:pt>
                <c:pt idx="1">
                  <c:v>43481848</c:v>
                </c:pt>
                <c:pt idx="2">
                  <c:v>31112739</c:v>
                </c:pt>
                <c:pt idx="3">
                  <c:v>16232541</c:v>
                </c:pt>
                <c:pt idx="4">
                  <c:v>15380108</c:v>
                </c:pt>
                <c:pt idx="5">
                  <c:v>8716542</c:v>
                </c:pt>
                <c:pt idx="6">
                  <c:v>5961083</c:v>
                </c:pt>
                <c:pt idx="7">
                  <c:v>195145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4.0"/>
          <c:min val="7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40C2018-767D-4214-90DD-C64717A57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15A9ADB-0880-4D1E-BC70-8D52274A3D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94E93D4-404E-444E-85D2-C3B3BD30D2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CBA8E95-F399-470E-9AA3-0442A3146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403AD65-9A46-4AFC-99DC-BB311AE04B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51BF003-98C5-4233-886C-BC88EE73B7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8014D98-A771-4E4B-8282-E505F7B906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CE91DB6-5EC9-4436-AE2C-9A914A0671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06.1356</c:v>
                </c:pt>
                <c:pt idx="1">
                  <c:v>269.3955</c:v>
                </c:pt>
                <c:pt idx="2">
                  <c:v>500.0714</c:v>
                </c:pt>
                <c:pt idx="3">
                  <c:v>490.0442</c:v>
                </c:pt>
                <c:pt idx="4">
                  <c:v>179.2867</c:v>
                </c:pt>
                <c:pt idx="5">
                  <c:v>368.3226</c:v>
                </c:pt>
              </c:numCache>
            </c:numRef>
          </c:xVal>
          <c:yVal>
            <c:numRef>
              <c:f>Sheet1!$B$2:$B$7</c:f>
              <c:numCache>
                <c:formatCode>General</c:formatCode>
                <c:ptCount val="6"/>
                <c:pt idx="0">
                  <c:v>3.967</c:v>
                </c:pt>
                <c:pt idx="1">
                  <c:v>0.689</c:v>
                </c:pt>
                <c:pt idx="2">
                  <c:v>3.95</c:v>
                </c:pt>
                <c:pt idx="3">
                  <c:v>6.693</c:v>
                </c:pt>
                <c:pt idx="4">
                  <c:v>0.363</c:v>
                </c:pt>
                <c:pt idx="5">
                  <c:v>7.516</c:v>
                </c:pt>
              </c:numCache>
            </c:numRef>
          </c:yVal>
          <c:bubbleSize>
            <c:numRef>
              <c:f>Sheet1!$C$2:$C$7</c:f>
              <c:numCache>
                <c:formatCode>General</c:formatCode>
                <c:ptCount val="6"/>
                <c:pt idx="0">
                  <c:v>415809</c:v>
                </c:pt>
                <c:pt idx="1">
                  <c:v>215247</c:v>
                </c:pt>
                <c:pt idx="2">
                  <c:v>126018</c:v>
                </c:pt>
                <c:pt idx="3">
                  <c:v>122021</c:v>
                </c:pt>
                <c:pt idx="4">
                  <c:v>76914</c:v>
                </c:pt>
                <c:pt idx="5">
                  <c:v>3425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7.0"/>
          <c:min val="14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A0904A2-F582-4D95-987F-0BC0A7EA3A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B990089-7F03-4068-994E-B42D7DDB65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12E950F-28A7-400F-B000-E95135533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BD38272-ED99-408B-97F1-BB7F301369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BD9A9F6-6F41-4CAE-A670-150898508A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5900059-17DC-43D1-842C-B16574CBF0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56D34EC-1572-4A89-A9C4-1E86303894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7EDF5E1-1465-4613-A859-4AF11C1A44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0.8802</c:v>
                </c:pt>
                <c:pt idx="1">
                  <c:v>257.7494</c:v>
                </c:pt>
                <c:pt idx="2">
                  <c:v>78.9321</c:v>
                </c:pt>
                <c:pt idx="3">
                  <c:v>74.7261</c:v>
                </c:pt>
                <c:pt idx="4">
                  <c:v>703.9447</c:v>
                </c:pt>
                <c:pt idx="5">
                  <c:v>604.1472</c:v>
                </c:pt>
                <c:pt idx="6">
                  <c:v>581.9242</c:v>
                </c:pt>
                <c:pt idx="7">
                  <c:v>141.6833</c:v>
                </c:pt>
              </c:numCache>
            </c:numRef>
          </c:xVal>
          <c:yVal>
            <c:numRef>
              <c:f>Sheet1!$B$2:$B$9</c:f>
              <c:numCache>
                <c:formatCode>General</c:formatCode>
                <c:ptCount val="8"/>
                <c:pt idx="0">
                  <c:v>1.303</c:v>
                </c:pt>
                <c:pt idx="1">
                  <c:v>1.13</c:v>
                </c:pt>
                <c:pt idx="2">
                  <c:v>0.524</c:v>
                </c:pt>
                <c:pt idx="3">
                  <c:v>0.545</c:v>
                </c:pt>
                <c:pt idx="4">
                  <c:v>4.17</c:v>
                </c:pt>
                <c:pt idx="5">
                  <c:v>2.746</c:v>
                </c:pt>
                <c:pt idx="6">
                  <c:v>2.565</c:v>
                </c:pt>
                <c:pt idx="7">
                  <c:v>0.564</c:v>
                </c:pt>
              </c:numCache>
            </c:numRef>
          </c:yVal>
          <c:bubbleSize>
            <c:numRef>
              <c:f>Sheet1!$C$2:$C$9</c:f>
              <c:numCache>
                <c:formatCode>General</c:formatCode>
                <c:ptCount val="8"/>
                <c:pt idx="0">
                  <c:v>8828185</c:v>
                </c:pt>
                <c:pt idx="1">
                  <c:v>7927597</c:v>
                </c:pt>
                <c:pt idx="2">
                  <c:v>2649356</c:v>
                </c:pt>
                <c:pt idx="3">
                  <c:v>995501</c:v>
                </c:pt>
                <c:pt idx="4">
                  <c:v>420255</c:v>
                </c:pt>
                <c:pt idx="5">
                  <c:v>336510</c:v>
                </c:pt>
                <c:pt idx="6">
                  <c:v>238007</c:v>
                </c:pt>
                <c:pt idx="7">
                  <c:v>56815</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5.0"/>
          <c:min val="6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E244E20-F395-4CBA-82F9-240BE2A167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D5E4C4-DE22-46AA-BE37-5468467C83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416B9EF-21CE-4BAD-B11E-1F4F477FB0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14C214F-5C71-4023-A109-38A7A6A976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5C4F332-5454-44C3-8679-0F6C5A1A95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BC95CCB-F95E-47DA-B9C1-0B94DC5D98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2C05553-FF77-43AF-9E7C-B9A64F3828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DFF2B89-EFAC-4C48-8C57-5864ADE465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3491</c:v>
                </c:pt>
                <c:pt idx="1">
                  <c:v>219.3034</c:v>
                </c:pt>
                <c:pt idx="2">
                  <c:v>245.6148</c:v>
                </c:pt>
                <c:pt idx="3">
                  <c:v>295.5479</c:v>
                </c:pt>
                <c:pt idx="4">
                  <c:v>599.4627</c:v>
                </c:pt>
                <c:pt idx="5">
                  <c:v>84.1312</c:v>
                </c:pt>
                <c:pt idx="6">
                  <c:v>553.6225</c:v>
                </c:pt>
                <c:pt idx="7">
                  <c:v>222.3146</c:v>
                </c:pt>
              </c:numCache>
            </c:numRef>
          </c:xVal>
          <c:yVal>
            <c:numRef>
              <c:f>Sheet1!$B$2:$B$9</c:f>
              <c:numCache>
                <c:formatCode>General</c:formatCode>
                <c:ptCount val="8"/>
                <c:pt idx="0">
                  <c:v>1.077</c:v>
                </c:pt>
                <c:pt idx="1">
                  <c:v>0.777</c:v>
                </c:pt>
                <c:pt idx="2">
                  <c:v>0.803</c:v>
                </c:pt>
                <c:pt idx="3">
                  <c:v>2.069</c:v>
                </c:pt>
                <c:pt idx="4">
                  <c:v>4.165</c:v>
                </c:pt>
                <c:pt idx="5">
                  <c:v>0.424</c:v>
                </c:pt>
                <c:pt idx="6">
                  <c:v>7.551</c:v>
                </c:pt>
                <c:pt idx="7">
                  <c:v>2.67</c:v>
                </c:pt>
              </c:numCache>
            </c:numRef>
          </c:yVal>
          <c:bubbleSize>
            <c:numRef>
              <c:f>Sheet1!$C$2:$C$9</c:f>
              <c:numCache>
                <c:formatCode>General</c:formatCode>
                <c:ptCount val="8"/>
                <c:pt idx="0">
                  <c:v>61063981</c:v>
                </c:pt>
                <c:pt idx="1">
                  <c:v>31605343</c:v>
                </c:pt>
                <c:pt idx="2">
                  <c:v>24390778</c:v>
                </c:pt>
                <c:pt idx="3">
                  <c:v>9309759</c:v>
                </c:pt>
                <c:pt idx="4">
                  <c:v>5655931</c:v>
                </c:pt>
                <c:pt idx="5">
                  <c:v>4398549</c:v>
                </c:pt>
                <c:pt idx="6">
                  <c:v>3022225</c:v>
                </c:pt>
                <c:pt idx="7">
                  <c:v>14926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9.0"/>
          <c:min val="6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1B63D9E-F156-42ED-809F-2491CA60D7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88B05C8-9BA7-4D2A-A8DD-80098C5E60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7E19BB1-1EAC-42B7-8368-A11353169D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9F77FEA-A30D-4584-9EBC-BB31EB07A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A04883E-A118-48D2-9AF3-6AA4F32BF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D6678B3-FB90-452A-9129-4A19062230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11BCED8-83E8-4D5A-8F0C-2A69AABBBF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241F483-FD0E-460B-9463-0902E84ACE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69.9414</c:v>
                </c:pt>
                <c:pt idx="1">
                  <c:v>632.3459</c:v>
                </c:pt>
                <c:pt idx="2">
                  <c:v>474.795</c:v>
                </c:pt>
                <c:pt idx="3">
                  <c:v>555.6875</c:v>
                </c:pt>
                <c:pt idx="4">
                  <c:v>219.7581</c:v>
                </c:pt>
                <c:pt idx="5">
                  <c:v>988.1111</c:v>
                </c:pt>
              </c:numCache>
            </c:numRef>
          </c:xVal>
          <c:yVal>
            <c:numRef>
              <c:f>Sheet1!$B$2:$B$7</c:f>
              <c:numCache>
                <c:formatCode>General</c:formatCode>
                <c:ptCount val="6"/>
                <c:pt idx="0">
                  <c:v>0.754</c:v>
                </c:pt>
                <c:pt idx="1">
                  <c:v>39.856</c:v>
                </c:pt>
                <c:pt idx="2">
                  <c:v>6.038</c:v>
                </c:pt>
                <c:pt idx="3">
                  <c:v>0.0</c:v>
                </c:pt>
                <c:pt idx="4">
                  <c:v>0.561</c:v>
                </c:pt>
                <c:pt idx="5">
                  <c:v>0.0</c:v>
                </c:pt>
              </c:numCache>
            </c:numRef>
          </c:yVal>
          <c:bubbleSize>
            <c:numRef>
              <c:f>Sheet1!$C$2:$C$7</c:f>
              <c:numCache>
                <c:formatCode>General</c:formatCode>
                <c:ptCount val="6"/>
                <c:pt idx="0">
                  <c:v>179781</c:v>
                </c:pt>
                <c:pt idx="1">
                  <c:v>168204</c:v>
                </c:pt>
                <c:pt idx="2">
                  <c:v>76442</c:v>
                </c:pt>
                <c:pt idx="3">
                  <c:v>35564</c:v>
                </c:pt>
                <c:pt idx="4">
                  <c:v>27250</c:v>
                </c:pt>
                <c:pt idx="5">
                  <c:v>8893</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6.0"/>
          <c:min val="17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BBEEB6B-08E6-43E1-B074-6643DCC3E5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E4521F1-12B6-4DF1-8296-402ACDDF5C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18C9D45-05A8-4161-9F8C-CDE9845FC4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F8822A2-9DF8-465C-8CBA-B61BD400DA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B39B139-0277-48E2-A1F7-1D2C79E6A2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111E82A-4C9A-47CC-A57C-F0E15B012F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181541B-E520-4C20-8163-A0B7144EF8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5BC4779-0D0F-443F-B748-964E6F3C30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52.0716</c:v>
                </c:pt>
                <c:pt idx="1">
                  <c:v>251.5904</c:v>
                </c:pt>
                <c:pt idx="2">
                  <c:v>70.286</c:v>
                </c:pt>
                <c:pt idx="3">
                  <c:v>73.1442</c:v>
                </c:pt>
                <c:pt idx="4">
                  <c:v>124.3258</c:v>
                </c:pt>
              </c:numCache>
            </c:numRef>
          </c:xVal>
          <c:yVal>
            <c:numRef>
              <c:f>Sheet1!$B$2:$B$6</c:f>
              <c:numCache>
                <c:formatCode>General</c:formatCode>
                <c:ptCount val="5"/>
                <c:pt idx="0">
                  <c:v>1.23</c:v>
                </c:pt>
                <c:pt idx="1">
                  <c:v>1.083</c:v>
                </c:pt>
                <c:pt idx="2">
                  <c:v>0.484</c:v>
                </c:pt>
                <c:pt idx="3">
                  <c:v>0.507</c:v>
                </c:pt>
                <c:pt idx="4">
                  <c:v>0.44</c:v>
                </c:pt>
              </c:numCache>
            </c:numRef>
          </c:yVal>
          <c:bubbleSize>
            <c:numRef>
              <c:f>Sheet1!$C$2:$C$6</c:f>
              <c:numCache>
                <c:formatCode>General</c:formatCode>
                <c:ptCount val="5"/>
                <c:pt idx="0">
                  <c:v>7751455</c:v>
                </c:pt>
                <c:pt idx="1">
                  <c:v>5581029</c:v>
                </c:pt>
                <c:pt idx="2">
                  <c:v>1108551</c:v>
                </c:pt>
                <c:pt idx="3">
                  <c:v>411290</c:v>
                </c:pt>
                <c:pt idx="4">
                  <c:v>442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2.0"/>
          <c:min val="5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FFF30AA-B5F8-4B22-A0C0-34B7FD60BD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AA2E050-1DB5-4EEB-BC5F-9EC91091A3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1EBF0B9-E297-4C73-A362-41F824D7B9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F862D61-DCB4-46B7-B1B9-56E01B25F7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1526348-2F8B-46DC-A306-9AE8B70D3E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EBE5AA9-EE76-45F5-957E-E05645E6E9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2FC4745-69E0-4BF6-A9A9-5A44A0529A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A66A653-B2D8-4994-B846-6B13452CA2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3.3146</c:v>
                </c:pt>
                <c:pt idx="1">
                  <c:v>211.9672</c:v>
                </c:pt>
                <c:pt idx="2">
                  <c:v>216.7766</c:v>
                </c:pt>
                <c:pt idx="3">
                  <c:v>89.0047</c:v>
                </c:pt>
                <c:pt idx="4">
                  <c:v>74.3605</c:v>
                </c:pt>
                <c:pt idx="5">
                  <c:v>206.3025</c:v>
                </c:pt>
              </c:numCache>
            </c:numRef>
          </c:xVal>
          <c:yVal>
            <c:numRef>
              <c:f>Sheet1!$B$2:$B$7</c:f>
              <c:numCache>
                <c:formatCode>General</c:formatCode>
                <c:ptCount val="6"/>
                <c:pt idx="0">
                  <c:v>1.228</c:v>
                </c:pt>
                <c:pt idx="1">
                  <c:v>0.899</c:v>
                </c:pt>
                <c:pt idx="2">
                  <c:v>0.89</c:v>
                </c:pt>
                <c:pt idx="3">
                  <c:v>0.494</c:v>
                </c:pt>
                <c:pt idx="4">
                  <c:v>0.457</c:v>
                </c:pt>
                <c:pt idx="5">
                  <c:v>2.963</c:v>
                </c:pt>
              </c:numCache>
            </c:numRef>
          </c:yVal>
          <c:bubbleSize>
            <c:numRef>
              <c:f>Sheet1!$C$2:$C$7</c:f>
              <c:numCache>
                <c:formatCode>General</c:formatCode>
                <c:ptCount val="6"/>
                <c:pt idx="0">
                  <c:v>523432960</c:v>
                </c:pt>
                <c:pt idx="1">
                  <c:v>195439881</c:v>
                </c:pt>
                <c:pt idx="2">
                  <c:v>125391144</c:v>
                </c:pt>
                <c:pt idx="3">
                  <c:v>45802720</c:v>
                </c:pt>
                <c:pt idx="4">
                  <c:v>23746346</c:v>
                </c:pt>
                <c:pt idx="5">
                  <c:v>1245902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2.0"/>
          <c:min val="5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F832AFFC-279A-4FC8-8933-60B3FA5C07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FF005D82-E14D-4322-9CC8-C1B2F3B216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35C12B6B-867D-4BE2-956D-A1D4645434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3999D2D3-C66B-4D71-842A-EBADAE2125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F9125B7D-BC0D-47AF-B456-D4605322CD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136A8D50-3FB2-4CAB-AD91-2AAB1752BB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FE79EC10-B9A2-4CEF-9C10-608469E94D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2436C931-5473-4CE2-89F0-B1B8305480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94.1848</c:v>
                </c:pt>
                <c:pt idx="1">
                  <c:v>451.1489</c:v>
                </c:pt>
                <c:pt idx="2">
                  <c:v>292.351</c:v>
                </c:pt>
                <c:pt idx="3">
                  <c:v>398.2336</c:v>
                </c:pt>
                <c:pt idx="4">
                  <c:v>277.202</c:v>
                </c:pt>
                <c:pt idx="5">
                  <c:v>444.8215</c:v>
                </c:pt>
                <c:pt idx="6">
                  <c:v>247.6154</c:v>
                </c:pt>
              </c:numCache>
            </c:numRef>
          </c:xVal>
          <c:yVal>
            <c:numRef>
              <c:f>Sheet1!$B$2:$B$8</c:f>
              <c:numCache>
                <c:formatCode>General</c:formatCode>
                <c:ptCount val="7"/>
                <c:pt idx="0">
                  <c:v>1.911</c:v>
                </c:pt>
                <c:pt idx="1">
                  <c:v>1.387</c:v>
                </c:pt>
                <c:pt idx="2">
                  <c:v>0.642</c:v>
                </c:pt>
                <c:pt idx="3">
                  <c:v>0.9</c:v>
                </c:pt>
                <c:pt idx="4">
                  <c:v>1.534</c:v>
                </c:pt>
                <c:pt idx="5">
                  <c:v>0.372</c:v>
                </c:pt>
                <c:pt idx="6">
                  <c:v>0.143</c:v>
                </c:pt>
              </c:numCache>
            </c:numRef>
          </c:yVal>
          <c:bubbleSize>
            <c:numRef>
              <c:f>Sheet1!$C$2:$C$8</c:f>
              <c:numCache>
                <c:formatCode>General</c:formatCode>
                <c:ptCount val="7"/>
                <c:pt idx="0">
                  <c:v>4965545</c:v>
                </c:pt>
                <c:pt idx="1">
                  <c:v>2807951</c:v>
                </c:pt>
                <c:pt idx="2">
                  <c:v>1714346</c:v>
                </c:pt>
                <c:pt idx="3">
                  <c:v>1174789</c:v>
                </c:pt>
                <c:pt idx="4">
                  <c:v>469303</c:v>
                </c:pt>
                <c:pt idx="5">
                  <c:v>363864</c:v>
                </c:pt>
                <c:pt idx="6">
                  <c:v>321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1.0"/>
          <c:min val="198.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1A1C6B9-79C4-4045-87A6-8197F21862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A8D161C-FDCC-438A-8F66-7A8EFC0763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565F9AC-B2E2-4C91-A389-1A42AD8CCF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BEE82F7-D12B-4468-A4FD-21C56F8B89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889BA7E-DF8B-4767-AED1-5840A7C0C8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39B0185-C167-4668-99BA-B472B13EB6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4E01A2E-9737-408A-8B15-69A655C2E2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AF38174-79EA-4A62-8366-4DDAB3194E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7.1653</c:v>
                </c:pt>
                <c:pt idx="1">
                  <c:v>290.3909</c:v>
                </c:pt>
                <c:pt idx="2">
                  <c:v>563.7208</c:v>
                </c:pt>
                <c:pt idx="3">
                  <c:v>575.9708</c:v>
                </c:pt>
                <c:pt idx="4">
                  <c:v>539.5108</c:v>
                </c:pt>
                <c:pt idx="5">
                  <c:v>321.159</c:v>
                </c:pt>
                <c:pt idx="6">
                  <c:v>535.1501</c:v>
                </c:pt>
                <c:pt idx="7">
                  <c:v>653.6938</c:v>
                </c:pt>
              </c:numCache>
            </c:numRef>
          </c:xVal>
          <c:yVal>
            <c:numRef>
              <c:f>Sheet1!$B$2:$B$9</c:f>
              <c:numCache>
                <c:formatCode>General</c:formatCode>
                <c:ptCount val="8"/>
                <c:pt idx="0">
                  <c:v>1.419</c:v>
                </c:pt>
                <c:pt idx="1">
                  <c:v>0.688</c:v>
                </c:pt>
                <c:pt idx="2">
                  <c:v>2.135</c:v>
                </c:pt>
                <c:pt idx="3">
                  <c:v>1.708</c:v>
                </c:pt>
                <c:pt idx="4">
                  <c:v>1.445</c:v>
                </c:pt>
                <c:pt idx="5">
                  <c:v>0.835</c:v>
                </c:pt>
                <c:pt idx="6">
                  <c:v>1.907</c:v>
                </c:pt>
                <c:pt idx="7">
                  <c:v>1.192</c:v>
                </c:pt>
              </c:numCache>
            </c:numRef>
          </c:yVal>
          <c:bubbleSize>
            <c:numRef>
              <c:f>Sheet1!$C$2:$C$9</c:f>
              <c:numCache>
                <c:formatCode>General</c:formatCode>
                <c:ptCount val="8"/>
                <c:pt idx="0">
                  <c:v>108131910</c:v>
                </c:pt>
                <c:pt idx="1">
                  <c:v>99186490</c:v>
                </c:pt>
                <c:pt idx="2">
                  <c:v>44526055</c:v>
                </c:pt>
                <c:pt idx="3">
                  <c:v>39227065</c:v>
                </c:pt>
                <c:pt idx="4">
                  <c:v>23762215</c:v>
                </c:pt>
                <c:pt idx="5">
                  <c:v>13025888</c:v>
                </c:pt>
                <c:pt idx="6">
                  <c:v>11742263</c:v>
                </c:pt>
                <c:pt idx="7">
                  <c:v>1075849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4.0"/>
          <c:min val="23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814BBB8-A19C-4B26-A4EE-390E5C7EFE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1E8EF6D-22E1-4F96-9358-E374C499FD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DEE82BE-7037-4441-83E6-C6EBD535AD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B0AD597-FE2B-429A-A11D-FB235596AE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024267A-452E-4918-B3FE-4A0915D87F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20EFFEB-4A31-4EC1-8618-FA98C200AF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8F1BA7A-69DA-42E7-A81A-39F3CE0E6D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9CA696A-97E0-4668-B99C-600FB5778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48.9728</c:v>
                </c:pt>
                <c:pt idx="1">
                  <c:v>198.7268</c:v>
                </c:pt>
                <c:pt idx="2">
                  <c:v>74.7662</c:v>
                </c:pt>
              </c:numCache>
            </c:numRef>
          </c:xVal>
          <c:yVal>
            <c:numRef>
              <c:f>Sheet1!$B$2:$B$4</c:f>
              <c:numCache>
                <c:formatCode>General</c:formatCode>
                <c:ptCount val="3"/>
                <c:pt idx="0">
                  <c:v>1.132</c:v>
                </c:pt>
                <c:pt idx="1">
                  <c:v>1.077</c:v>
                </c:pt>
                <c:pt idx="2">
                  <c:v>0.591</c:v>
                </c:pt>
              </c:numCache>
            </c:numRef>
          </c:yVal>
          <c:bubbleSize>
            <c:numRef>
              <c:f>Sheet1!$C$2:$C$4</c:f>
              <c:numCache>
                <c:formatCode>General</c:formatCode>
                <c:ptCount val="3"/>
                <c:pt idx="0">
                  <c:v>79888408</c:v>
                </c:pt>
                <c:pt idx="1">
                  <c:v>51049534</c:v>
                </c:pt>
                <c:pt idx="2">
                  <c:v>1619003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9.0"/>
          <c:min val="6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E03A703-6159-4EBC-8AB5-D299361D47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54DBC86-ECE4-4C53-B5D6-B76F1BBEB8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E61A74B-A350-4172-931E-86C57245DB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4A34C06-54DF-4882-8EAD-4CCE87E505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20189AF-8130-4539-8374-CE6073028E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D425C04-A494-4255-A416-96C14E8B31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AE2DB0F-3218-4B19-86D8-15AA980A92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CEA37DD-9954-41EC-BA71-2CC756D5E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3.2715</c:v>
                </c:pt>
                <c:pt idx="1">
                  <c:v>202.0541</c:v>
                </c:pt>
                <c:pt idx="2">
                  <c:v>210.2211</c:v>
                </c:pt>
                <c:pt idx="3">
                  <c:v>88.9327</c:v>
                </c:pt>
                <c:pt idx="4">
                  <c:v>74.7126</c:v>
                </c:pt>
                <c:pt idx="5">
                  <c:v>227.9861</c:v>
                </c:pt>
              </c:numCache>
            </c:numRef>
          </c:xVal>
          <c:yVal>
            <c:numRef>
              <c:f>Sheet1!$B$2:$B$7</c:f>
              <c:numCache>
                <c:formatCode>General</c:formatCode>
                <c:ptCount val="6"/>
                <c:pt idx="0">
                  <c:v>1.228</c:v>
                </c:pt>
                <c:pt idx="1">
                  <c:v>0.89</c:v>
                </c:pt>
                <c:pt idx="2">
                  <c:v>0.848</c:v>
                </c:pt>
                <c:pt idx="3">
                  <c:v>0.486</c:v>
                </c:pt>
                <c:pt idx="4">
                  <c:v>0.454</c:v>
                </c:pt>
                <c:pt idx="5">
                  <c:v>3.162</c:v>
                </c:pt>
              </c:numCache>
            </c:numRef>
          </c:yVal>
          <c:bubbleSize>
            <c:numRef>
              <c:f>Sheet1!$C$2:$C$7</c:f>
              <c:numCache>
                <c:formatCode>General</c:formatCode>
                <c:ptCount val="6"/>
                <c:pt idx="0">
                  <c:v>111274571</c:v>
                </c:pt>
                <c:pt idx="1">
                  <c:v>42646557</c:v>
                </c:pt>
                <c:pt idx="2">
                  <c:v>26225287</c:v>
                </c:pt>
                <c:pt idx="3">
                  <c:v>9310814</c:v>
                </c:pt>
                <c:pt idx="4">
                  <c:v>6583303</c:v>
                </c:pt>
                <c:pt idx="5">
                  <c:v>301762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2.0"/>
          <c:min val="6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C40A982-E4C4-4057-B9F5-53ED8AF85C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E9897EC-725D-407A-88E3-6ADD54CB9E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CB3CCB9-1EA9-4025-A62E-3BF863E9F6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91CE043-C9B4-4671-9ABF-7BF862390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7225C5B-E6C7-4F64-84F2-7C8DB6B369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3875FEB-EAFA-4C91-A603-3F770415DF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6794874-D807-42D8-89BF-9D7E279EC9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035621F-2EF9-4ED4-B0D2-FE57E603DB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89.7255</c:v>
                </c:pt>
                <c:pt idx="1">
                  <c:v>591.1292</c:v>
                </c:pt>
                <c:pt idx="2">
                  <c:v>569.417</c:v>
                </c:pt>
                <c:pt idx="3">
                  <c:v>592.0093</c:v>
                </c:pt>
                <c:pt idx="4">
                  <c:v>556.0793</c:v>
                </c:pt>
                <c:pt idx="5">
                  <c:v>326.0504</c:v>
                </c:pt>
                <c:pt idx="6">
                  <c:v>385.4487</c:v>
                </c:pt>
                <c:pt idx="7">
                  <c:v>591.6888</c:v>
                </c:pt>
              </c:numCache>
            </c:numRef>
          </c:xVal>
          <c:yVal>
            <c:numRef>
              <c:f>Sheet1!$B$2:$B$9</c:f>
              <c:numCache>
                <c:formatCode>General</c:formatCode>
                <c:ptCount val="8"/>
                <c:pt idx="0">
                  <c:v>0.712</c:v>
                </c:pt>
                <c:pt idx="1">
                  <c:v>1.508</c:v>
                </c:pt>
                <c:pt idx="2">
                  <c:v>1.749</c:v>
                </c:pt>
                <c:pt idx="3">
                  <c:v>2.423</c:v>
                </c:pt>
                <c:pt idx="4">
                  <c:v>1.486</c:v>
                </c:pt>
                <c:pt idx="5">
                  <c:v>0.859</c:v>
                </c:pt>
                <c:pt idx="6">
                  <c:v>1.347</c:v>
                </c:pt>
                <c:pt idx="7">
                  <c:v>2.2</c:v>
                </c:pt>
              </c:numCache>
            </c:numRef>
          </c:yVal>
          <c:bubbleSize>
            <c:numRef>
              <c:f>Sheet1!$C$2:$C$9</c:f>
              <c:numCache>
                <c:formatCode>General</c:formatCode>
                <c:ptCount val="8"/>
                <c:pt idx="0">
                  <c:v>27304308</c:v>
                </c:pt>
                <c:pt idx="1">
                  <c:v>25478849</c:v>
                </c:pt>
                <c:pt idx="2">
                  <c:v>9237082</c:v>
                </c:pt>
                <c:pt idx="3">
                  <c:v>7009390</c:v>
                </c:pt>
                <c:pt idx="4">
                  <c:v>3777447</c:v>
                </c:pt>
                <c:pt idx="5">
                  <c:v>3575795</c:v>
                </c:pt>
                <c:pt idx="6">
                  <c:v>2497322</c:v>
                </c:pt>
                <c:pt idx="7">
                  <c:v>184074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0.0"/>
          <c:min val="23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742F0E9-5026-4502-AD54-FAB2E79687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485D162-1666-4CBE-8221-7090A0933B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B1407ED-E50B-4B66-850E-DB97AE73F9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E79C2DF-682B-477E-8A77-C31081821C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C553249-5B20-43BE-AD34-CAF560FC71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30A2954-1794-46DC-9E86-52CD7F8A32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69D26B2-C4DD-46FC-A1CB-68C9EB0D15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09E5088-A553-4EAF-A2B4-C679EED8A9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45.5389</c:v>
                </c:pt>
                <c:pt idx="1">
                  <c:v>176.9993</c:v>
                </c:pt>
                <c:pt idx="2">
                  <c:v>75.2275</c:v>
                </c:pt>
              </c:numCache>
            </c:numRef>
          </c:xVal>
          <c:yVal>
            <c:numRef>
              <c:f>Sheet1!$B$2:$B$4</c:f>
              <c:numCache>
                <c:formatCode>General</c:formatCode>
                <c:ptCount val="3"/>
                <c:pt idx="0">
                  <c:v>1.145</c:v>
                </c:pt>
                <c:pt idx="1">
                  <c:v>1.121</c:v>
                </c:pt>
                <c:pt idx="2">
                  <c:v>0.58</c:v>
                </c:pt>
              </c:numCache>
            </c:numRef>
          </c:yVal>
          <c:bubbleSize>
            <c:numRef>
              <c:f>Sheet1!$C$2:$C$4</c:f>
              <c:numCache>
                <c:formatCode>General</c:formatCode>
                <c:ptCount val="3"/>
                <c:pt idx="0">
                  <c:v>13487454</c:v>
                </c:pt>
                <c:pt idx="1">
                  <c:v>11637350</c:v>
                </c:pt>
                <c:pt idx="2">
                  <c:v>371021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5.0"/>
          <c:min val="6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33820DE-F5DF-417C-AD21-092202D5C5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72D7295-975B-42A1-B001-D9682EF3F6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A042B82-FB77-49EC-BC70-EC3C241384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5CC2341-B6C9-4D94-9129-46B88EA213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541371D-114F-4582-B44A-D9E6F0D9D9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650EF2C-BD7A-401A-94A8-965ABA254A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DA5D191-F328-419D-BEBA-8181B0D645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972046B-A223-43F5-8534-83CA88374B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4.6602</c:v>
                </c:pt>
                <c:pt idx="1">
                  <c:v>198.5987</c:v>
                </c:pt>
                <c:pt idx="2">
                  <c:v>192.9129</c:v>
                </c:pt>
                <c:pt idx="3">
                  <c:v>87.2158</c:v>
                </c:pt>
                <c:pt idx="4">
                  <c:v>74.168</c:v>
                </c:pt>
                <c:pt idx="5">
                  <c:v>220.0135</c:v>
                </c:pt>
              </c:numCache>
            </c:numRef>
          </c:xVal>
          <c:yVal>
            <c:numRef>
              <c:f>Sheet1!$B$2:$B$7</c:f>
              <c:numCache>
                <c:formatCode>General</c:formatCode>
                <c:ptCount val="6"/>
                <c:pt idx="0">
                  <c:v>1.275</c:v>
                </c:pt>
                <c:pt idx="1">
                  <c:v>0.855</c:v>
                </c:pt>
                <c:pt idx="2">
                  <c:v>0.859</c:v>
                </c:pt>
                <c:pt idx="3">
                  <c:v>0.477</c:v>
                </c:pt>
                <c:pt idx="4">
                  <c:v>0.446</c:v>
                </c:pt>
                <c:pt idx="5">
                  <c:v>3.078</c:v>
                </c:pt>
              </c:numCache>
            </c:numRef>
          </c:yVal>
          <c:bubbleSize>
            <c:numRef>
              <c:f>Sheet1!$C$2:$C$7</c:f>
              <c:numCache>
                <c:formatCode>General</c:formatCode>
                <c:ptCount val="6"/>
                <c:pt idx="0">
                  <c:v>76877378</c:v>
                </c:pt>
                <c:pt idx="1">
                  <c:v>26121485</c:v>
                </c:pt>
                <c:pt idx="2">
                  <c:v>20488126</c:v>
                </c:pt>
                <c:pt idx="3">
                  <c:v>7108348</c:v>
                </c:pt>
                <c:pt idx="4">
                  <c:v>3174094</c:v>
                </c:pt>
                <c:pt idx="5">
                  <c:v>191719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4.0"/>
          <c:min val="5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FF02FD-565A-4C5D-BD41-7A108759A6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6BE11B3-CB06-48F9-9BF6-30893E554F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5942910-C22E-49EA-A7C2-8C1C1E602D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8598DF5-7190-4EA2-A42A-3B442A7A39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E80CA19-7160-48A1-B158-725221A894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1EB85D2-97AD-45A1-845B-BEDC8B98AB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9A68FEF-EFD3-4B15-BB69-F338FE699D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E813860-02ED-430C-A9D1-D7A6CF539C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52.8728</c:v>
                </c:pt>
                <c:pt idx="1">
                  <c:v>544.9942</c:v>
                </c:pt>
                <c:pt idx="2">
                  <c:v>292.4042</c:v>
                </c:pt>
                <c:pt idx="3">
                  <c:v>574.2405</c:v>
                </c:pt>
                <c:pt idx="4">
                  <c:v>521.0654</c:v>
                </c:pt>
                <c:pt idx="5">
                  <c:v>613.4706</c:v>
                </c:pt>
                <c:pt idx="6">
                  <c:v>493.8476</c:v>
                </c:pt>
                <c:pt idx="7">
                  <c:v>402.1162</c:v>
                </c:pt>
              </c:numCache>
            </c:numRef>
          </c:xVal>
          <c:yVal>
            <c:numRef>
              <c:f>Sheet1!$B$2:$B$9</c:f>
              <c:numCache>
                <c:formatCode>General</c:formatCode>
                <c:ptCount val="8"/>
                <c:pt idx="0">
                  <c:v>1.211</c:v>
                </c:pt>
                <c:pt idx="1">
                  <c:v>1.61</c:v>
                </c:pt>
                <c:pt idx="2">
                  <c:v>0.595</c:v>
                </c:pt>
                <c:pt idx="3">
                  <c:v>1.413</c:v>
                </c:pt>
                <c:pt idx="4">
                  <c:v>1.158</c:v>
                </c:pt>
                <c:pt idx="5">
                  <c:v>0.875</c:v>
                </c:pt>
                <c:pt idx="6">
                  <c:v>1.44</c:v>
                </c:pt>
                <c:pt idx="7">
                  <c:v>1.133</c:v>
                </c:pt>
              </c:numCache>
            </c:numRef>
          </c:yVal>
          <c:bubbleSize>
            <c:numRef>
              <c:f>Sheet1!$C$2:$C$9</c:f>
              <c:numCache>
                <c:formatCode>General</c:formatCode>
                <c:ptCount val="8"/>
                <c:pt idx="0">
                  <c:v>38563986</c:v>
                </c:pt>
                <c:pt idx="1">
                  <c:v>20599144</c:v>
                </c:pt>
                <c:pt idx="2">
                  <c:v>19050720</c:v>
                </c:pt>
                <c:pt idx="3">
                  <c:v>12851502</c:v>
                </c:pt>
                <c:pt idx="4">
                  <c:v>10428081</c:v>
                </c:pt>
                <c:pt idx="5">
                  <c:v>4896109</c:v>
                </c:pt>
                <c:pt idx="6">
                  <c:v>4599203</c:v>
                </c:pt>
                <c:pt idx="7">
                  <c:v>2910115</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6.0"/>
          <c:min val="23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76812B0-E252-4EB2-ADDF-1DB295FBB7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52F03C9-089C-4420-A167-1E9FC1586A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9BC3CC-6121-4E62-B7AD-3A7B625B27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B9E2CEE-3A44-4556-A8B3-297733C4E5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1FC67A7-471E-4738-AC34-9AA2638646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36D4342-4D54-4191-895C-C445FB249E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3AA3A43-6E52-4FDD-8414-BEBAC5B5DD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E0B71FE-365D-4D88-A805-24A330566E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27.5381</c:v>
                </c:pt>
                <c:pt idx="1">
                  <c:v>181.9762</c:v>
                </c:pt>
                <c:pt idx="2">
                  <c:v>73.2502</c:v>
                </c:pt>
              </c:numCache>
            </c:numRef>
          </c:xVal>
          <c:yVal>
            <c:numRef>
              <c:f>Sheet1!$B$2:$B$4</c:f>
              <c:numCache>
                <c:formatCode>General</c:formatCode>
                <c:ptCount val="3"/>
                <c:pt idx="0">
                  <c:v>1.114</c:v>
                </c:pt>
                <c:pt idx="1">
                  <c:v>1.102</c:v>
                </c:pt>
                <c:pt idx="2">
                  <c:v>0.627</c:v>
                </c:pt>
              </c:numCache>
            </c:numRef>
          </c:yVal>
          <c:bubbleSize>
            <c:numRef>
              <c:f>Sheet1!$C$2:$C$4</c:f>
              <c:numCache>
                <c:formatCode>General</c:formatCode>
                <c:ptCount val="3"/>
                <c:pt idx="0">
                  <c:v>10876777</c:v>
                </c:pt>
                <c:pt idx="1">
                  <c:v>6204479</c:v>
                </c:pt>
                <c:pt idx="2">
                  <c:v>237389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3.0"/>
          <c:min val="5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902233-7D6C-40EE-A6AB-3881ECBA8E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E33438A-6098-4A57-B221-728B448EC1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E5BE5D2-6829-4294-AE09-838B349ACA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8516EEB-3FE1-478B-913B-D1F266A614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3DC4BD2-DA55-4599-BF4A-74370ABF66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A1EB108-626C-4602-84CE-71A95FC36B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3737EFF-1205-4DCA-8E37-085F180843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5F22BE9-7283-42C3-8C48-1260966C9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2.1934</c:v>
                </c:pt>
                <c:pt idx="1">
                  <c:v>221.7888</c:v>
                </c:pt>
                <c:pt idx="2">
                  <c:v>222.1692</c:v>
                </c:pt>
                <c:pt idx="3">
                  <c:v>91.4677</c:v>
                </c:pt>
                <c:pt idx="4">
                  <c:v>73.7171</c:v>
                </c:pt>
                <c:pt idx="5">
                  <c:v>156.0933</c:v>
                </c:pt>
              </c:numCache>
            </c:numRef>
          </c:xVal>
          <c:yVal>
            <c:numRef>
              <c:f>Sheet1!$B$2:$B$7</c:f>
              <c:numCache>
                <c:formatCode>General</c:formatCode>
                <c:ptCount val="6"/>
                <c:pt idx="0">
                  <c:v>1.186</c:v>
                </c:pt>
                <c:pt idx="1">
                  <c:v>0.909</c:v>
                </c:pt>
                <c:pt idx="2">
                  <c:v>0.923</c:v>
                </c:pt>
                <c:pt idx="3">
                  <c:v>0.496</c:v>
                </c:pt>
                <c:pt idx="4">
                  <c:v>0.469</c:v>
                </c:pt>
                <c:pt idx="5">
                  <c:v>2.363</c:v>
                </c:pt>
              </c:numCache>
            </c:numRef>
          </c:yVal>
          <c:bubbleSize>
            <c:numRef>
              <c:f>Sheet1!$C$2:$C$7</c:f>
              <c:numCache>
                <c:formatCode>General</c:formatCode>
                <c:ptCount val="6"/>
                <c:pt idx="0">
                  <c:v>106919192</c:v>
                </c:pt>
                <c:pt idx="1">
                  <c:v>35460921</c:v>
                </c:pt>
                <c:pt idx="2">
                  <c:v>19002574</c:v>
                </c:pt>
                <c:pt idx="3">
                  <c:v>7573435</c:v>
                </c:pt>
                <c:pt idx="4">
                  <c:v>3202788</c:v>
                </c:pt>
                <c:pt idx="5">
                  <c:v>223447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1.0"/>
          <c:min val="5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78103B2-E8ED-40B5-A485-238B0EBC5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E694B90-BE4E-4403-99AF-E0E51D7EC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B203B2C-6F42-4515-B34A-0E50908AB0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B042D78-1D0E-47D9-8235-47B695A0DF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E54138E-1DFF-4441-A5CC-3C10179BE7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38B1583-3384-4E60-81F9-4B4C4883E2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A4DF20A-4EB5-4B18-92E5-641E153C85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8B87BF9-6302-47EC-898D-EEE566F35C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80.8538</c:v>
                </c:pt>
                <c:pt idx="1">
                  <c:v>605.0969</c:v>
                </c:pt>
                <c:pt idx="2">
                  <c:v>520.9909</c:v>
                </c:pt>
                <c:pt idx="3">
                  <c:v>300.5639</c:v>
                </c:pt>
                <c:pt idx="4">
                  <c:v>588.9122</c:v>
                </c:pt>
                <c:pt idx="5">
                  <c:v>553.514</c:v>
                </c:pt>
                <c:pt idx="6">
                  <c:v>386.5265</c:v>
                </c:pt>
              </c:numCache>
            </c:numRef>
          </c:xVal>
          <c:yVal>
            <c:numRef>
              <c:f>Sheet1!$B$2:$B$8</c:f>
              <c:numCache>
                <c:formatCode>General</c:formatCode>
                <c:ptCount val="7"/>
                <c:pt idx="0">
                  <c:v>0.886</c:v>
                </c:pt>
                <c:pt idx="1">
                  <c:v>2.142</c:v>
                </c:pt>
                <c:pt idx="2">
                  <c:v>2.415</c:v>
                </c:pt>
                <c:pt idx="3">
                  <c:v>1.099</c:v>
                </c:pt>
                <c:pt idx="4">
                  <c:v>2.056</c:v>
                </c:pt>
                <c:pt idx="5">
                  <c:v>11.252</c:v>
                </c:pt>
                <c:pt idx="6">
                  <c:v>4.623</c:v>
                </c:pt>
              </c:numCache>
            </c:numRef>
          </c:yVal>
          <c:bubbleSize>
            <c:numRef>
              <c:f>Sheet1!$C$2:$C$8</c:f>
              <c:numCache>
                <c:formatCode>General</c:formatCode>
                <c:ptCount val="7"/>
                <c:pt idx="0">
                  <c:v>12857206</c:v>
                </c:pt>
                <c:pt idx="1">
                  <c:v>3786091</c:v>
                </c:pt>
                <c:pt idx="2">
                  <c:v>2173053</c:v>
                </c:pt>
                <c:pt idx="3">
                  <c:v>1656708</c:v>
                </c:pt>
                <c:pt idx="4">
                  <c:v>1072998</c:v>
                </c:pt>
                <c:pt idx="5">
                  <c:v>792632</c:v>
                </c:pt>
                <c:pt idx="6">
                  <c:v>44411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6.0"/>
          <c:min val="2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5D39FC59-A20D-45E5-868E-C4A7596B2A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3C8D7C51-BE80-4C52-8145-5066568AB2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F8EB1D2D-47C5-4296-956B-4F173B9825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2FAFC294-F055-404D-978E-E0EE242200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DABB42C6-DF2E-490C-9F2E-3325FA3A25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FC808273-8ABF-4ACA-8390-78892524F5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95A07FAC-007D-4753-9069-93EB3B2BF9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571A03AB-2274-40E8-92E3-5138DB1D4A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33.9455</c:v>
                </c:pt>
                <c:pt idx="1">
                  <c:v>242.2634</c:v>
                </c:pt>
                <c:pt idx="2">
                  <c:v>210.5241</c:v>
                </c:pt>
                <c:pt idx="3">
                  <c:v>685.8738</c:v>
                </c:pt>
              </c:numCache>
            </c:numRef>
          </c:xVal>
          <c:yVal>
            <c:numRef>
              <c:f>Sheet1!$B$2:$B$5</c:f>
              <c:numCache>
                <c:formatCode>General</c:formatCode>
                <c:ptCount val="4"/>
                <c:pt idx="0">
                  <c:v>0.957</c:v>
                </c:pt>
                <c:pt idx="1">
                  <c:v>1.175</c:v>
                </c:pt>
                <c:pt idx="2">
                  <c:v>0.847</c:v>
                </c:pt>
                <c:pt idx="3">
                  <c:v>3.523</c:v>
                </c:pt>
              </c:numCache>
            </c:numRef>
          </c:yVal>
          <c:bubbleSize>
            <c:numRef>
              <c:f>Sheet1!$C$2:$C$5</c:f>
              <c:numCache>
                <c:formatCode>General</c:formatCode>
                <c:ptCount val="4"/>
                <c:pt idx="0">
                  <c:v>1245526</c:v>
                </c:pt>
                <c:pt idx="1">
                  <c:v>462723</c:v>
                </c:pt>
                <c:pt idx="2">
                  <c:v>414943</c:v>
                </c:pt>
                <c:pt idx="3">
                  <c:v>70645</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3.0"/>
          <c:min val="168.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8A783BA-CB4D-45A5-AE38-4F64C44B31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D1AD5F8-77F7-440C-BD6E-3CE0F845F1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A98E7D0-EA3D-4D84-8B68-204EA62C8D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664D073-8CDB-49B6-8A35-DF3BDE84ED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548E462-418F-430F-9114-7EDE5EA8D7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2A4E9A0-948D-4FA8-A58C-9F68D74802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BA9B228-3E8B-48A4-B39D-05FCCD418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2D6930E-BC9D-41B4-BE64-1835DED562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41.6265</c:v>
                </c:pt>
                <c:pt idx="1">
                  <c:v>220.4366</c:v>
                </c:pt>
                <c:pt idx="2">
                  <c:v>77.321</c:v>
                </c:pt>
                <c:pt idx="3">
                  <c:v>333.8077</c:v>
                </c:pt>
              </c:numCache>
            </c:numRef>
          </c:xVal>
          <c:yVal>
            <c:numRef>
              <c:f>Sheet1!$B$2:$B$5</c:f>
              <c:numCache>
                <c:formatCode>General</c:formatCode>
                <c:ptCount val="4"/>
                <c:pt idx="0">
                  <c:v>1.108</c:v>
                </c:pt>
                <c:pt idx="1">
                  <c:v>1.043</c:v>
                </c:pt>
                <c:pt idx="2">
                  <c:v>0.61</c:v>
                </c:pt>
                <c:pt idx="3">
                  <c:v>1.715</c:v>
                </c:pt>
              </c:numCache>
            </c:numRef>
          </c:yVal>
          <c:bubbleSize>
            <c:numRef>
              <c:f>Sheet1!$C$2:$C$5</c:f>
              <c:numCache>
                <c:formatCode>General</c:formatCode>
                <c:ptCount val="4"/>
                <c:pt idx="0">
                  <c:v>14829826</c:v>
                </c:pt>
                <c:pt idx="1">
                  <c:v>10425110</c:v>
                </c:pt>
                <c:pt idx="2">
                  <c:v>2580898</c:v>
                </c:pt>
                <c:pt idx="3">
                  <c:v>60919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01.0"/>
          <c:min val="6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53C4959-D864-424C-BEDA-6A8B46764B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0BBB90B-089D-4B3C-9B1F-1A47BBC340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D4DF28B-56FD-4AE4-80BB-96577EC0CD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787918D-1F6E-4B5D-9049-30F1F1321F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41ACB63-00BA-443B-9116-6467D9E543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C6CD638-B41C-425E-BCEB-750F49F0DD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CAECA45-169F-404D-8B10-4EDA982843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746BD90-F988-4CF2-997C-F51DB78BC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1.6365</c:v>
                </c:pt>
                <c:pt idx="1">
                  <c:v>213.0857</c:v>
                </c:pt>
                <c:pt idx="2">
                  <c:v>219.7494</c:v>
                </c:pt>
                <c:pt idx="3">
                  <c:v>89.7135</c:v>
                </c:pt>
                <c:pt idx="4">
                  <c:v>74.4418</c:v>
                </c:pt>
                <c:pt idx="5">
                  <c:v>214.8602</c:v>
                </c:pt>
              </c:numCache>
            </c:numRef>
          </c:xVal>
          <c:yVal>
            <c:numRef>
              <c:f>Sheet1!$B$2:$B$7</c:f>
              <c:numCache>
                <c:formatCode>General</c:formatCode>
                <c:ptCount val="6"/>
                <c:pt idx="0">
                  <c:v>1.24</c:v>
                </c:pt>
                <c:pt idx="1">
                  <c:v>0.906</c:v>
                </c:pt>
                <c:pt idx="2">
                  <c:v>0.881</c:v>
                </c:pt>
                <c:pt idx="3">
                  <c:v>0.53</c:v>
                </c:pt>
                <c:pt idx="4">
                  <c:v>0.468</c:v>
                </c:pt>
                <c:pt idx="5">
                  <c:v>3.187</c:v>
                </c:pt>
              </c:numCache>
            </c:numRef>
          </c:yVal>
          <c:bubbleSize>
            <c:numRef>
              <c:f>Sheet1!$C$2:$C$7</c:f>
              <c:numCache>
                <c:formatCode>General</c:formatCode>
                <c:ptCount val="6"/>
                <c:pt idx="0">
                  <c:v>88331422</c:v>
                </c:pt>
                <c:pt idx="1">
                  <c:v>31006308</c:v>
                </c:pt>
                <c:pt idx="2">
                  <c:v>19425192</c:v>
                </c:pt>
                <c:pt idx="3">
                  <c:v>9096325</c:v>
                </c:pt>
                <c:pt idx="4">
                  <c:v>4963182</c:v>
                </c:pt>
                <c:pt idx="5">
                  <c:v>184564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0.0"/>
          <c:min val="6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FE9BCC1-FE46-4D4C-921E-0CE079B318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BADA564-331F-4BF6-A63A-7B3F640579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79C7AA2-52B1-450D-85AC-3A30087504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3BBF2EC-2BC5-45BD-A913-A172C62850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36725AC-1D8C-437C-ADD3-9F7E67E5D8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86FCA56-E808-4974-A393-A0ECC5E915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D01CADA-276B-4769-ABE1-29DF4948E5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85AD062-48A7-4A93-A472-0756428C1E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90.5508</c:v>
                </c:pt>
                <c:pt idx="1">
                  <c:v>289.0043</c:v>
                </c:pt>
                <c:pt idx="2">
                  <c:v>592.2799</c:v>
                </c:pt>
                <c:pt idx="3">
                  <c:v>586.8087</c:v>
                </c:pt>
                <c:pt idx="4">
                  <c:v>555.4856</c:v>
                </c:pt>
                <c:pt idx="5">
                  <c:v>322.9757</c:v>
                </c:pt>
                <c:pt idx="6">
                  <c:v>599.9994</c:v>
                </c:pt>
                <c:pt idx="7">
                  <c:v>692.619</c:v>
                </c:pt>
              </c:numCache>
            </c:numRef>
          </c:xVal>
          <c:yVal>
            <c:numRef>
              <c:f>Sheet1!$B$2:$B$9</c:f>
              <c:numCache>
                <c:formatCode>General</c:formatCode>
                <c:ptCount val="8"/>
                <c:pt idx="0">
                  <c:v>1.346</c:v>
                </c:pt>
                <c:pt idx="1">
                  <c:v>0.67</c:v>
                </c:pt>
                <c:pt idx="2">
                  <c:v>1.717</c:v>
                </c:pt>
                <c:pt idx="3">
                  <c:v>2.284</c:v>
                </c:pt>
                <c:pt idx="4">
                  <c:v>1.489</c:v>
                </c:pt>
                <c:pt idx="5">
                  <c:v>0.815</c:v>
                </c:pt>
                <c:pt idx="6">
                  <c:v>2.167</c:v>
                </c:pt>
                <c:pt idx="7">
                  <c:v>1.334</c:v>
                </c:pt>
              </c:numCache>
            </c:numRef>
          </c:yVal>
          <c:bubbleSize>
            <c:numRef>
              <c:f>Sheet1!$C$2:$C$9</c:f>
              <c:numCache>
                <c:formatCode>General</c:formatCode>
                <c:ptCount val="8"/>
                <c:pt idx="0">
                  <c:v>17830499</c:v>
                </c:pt>
                <c:pt idx="1">
                  <c:v>15832523</c:v>
                </c:pt>
                <c:pt idx="2">
                  <c:v>6878146</c:v>
                </c:pt>
                <c:pt idx="3">
                  <c:v>6449028</c:v>
                </c:pt>
                <c:pt idx="4">
                  <c:v>3533444</c:v>
                </c:pt>
                <c:pt idx="5">
                  <c:v>2700077</c:v>
                </c:pt>
                <c:pt idx="6">
                  <c:v>1855198</c:v>
                </c:pt>
                <c:pt idx="7">
                  <c:v>168167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1.0"/>
          <c:min val="23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C893735-802F-4579-B35E-47425AB60B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708FB26-2C87-4E16-9B21-5A397ECA2C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5ED44A1-4073-4AC0-9E8A-40B8C75E41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DDFE062-BB6F-4197-A44E-4443C1993B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EF469F3-69E0-40DC-9B44-C2621EFFFA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E89BE68-888D-4C1D-8049-B06825B3EE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AA96E23-53F7-46CC-BD52-B6FE7D89BD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7A1D356-DBDF-4DEC-94D1-0CA94CC144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47.3659</c:v>
                </c:pt>
                <c:pt idx="1">
                  <c:v>202.6541</c:v>
                </c:pt>
                <c:pt idx="2">
                  <c:v>74.3763</c:v>
                </c:pt>
              </c:numCache>
            </c:numRef>
          </c:xVal>
          <c:yVal>
            <c:numRef>
              <c:f>Sheet1!$B$2:$B$4</c:f>
              <c:numCache>
                <c:formatCode>General</c:formatCode>
                <c:ptCount val="3"/>
                <c:pt idx="0">
                  <c:v>1.144</c:v>
                </c:pt>
                <c:pt idx="1">
                  <c:v>1.112</c:v>
                </c:pt>
                <c:pt idx="2">
                  <c:v>0.63</c:v>
                </c:pt>
              </c:numCache>
            </c:numRef>
          </c:yVal>
          <c:bubbleSize>
            <c:numRef>
              <c:f>Sheet1!$C$2:$C$4</c:f>
              <c:numCache>
                <c:formatCode>General</c:formatCode>
                <c:ptCount val="3"/>
                <c:pt idx="0">
                  <c:v>11537145</c:v>
                </c:pt>
                <c:pt idx="1">
                  <c:v>7694775</c:v>
                </c:pt>
                <c:pt idx="2">
                  <c:v>336582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7.0"/>
          <c:min val="6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0A33A2F-FC4E-4551-BAA6-BCEAB52C4B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B688219-6BE9-4952-B2B5-17719F8396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85FA3EA-3F8C-45A3-BE02-4390DD911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35537D7-ADCA-4C1B-B73D-3507A037BE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A08F78E-C457-431A-8E08-C5CCF6C3EE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EFE1038-C29D-463D-8626-F12CC144C8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47D929B-7F09-4DEE-8D43-AF0AC411C3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499BCBA-18C9-4748-9365-A335FB83C7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6.5461</c:v>
                </c:pt>
                <c:pt idx="1">
                  <c:v>218.1221</c:v>
                </c:pt>
                <c:pt idx="2">
                  <c:v>231.688</c:v>
                </c:pt>
                <c:pt idx="3">
                  <c:v>89.6171</c:v>
                </c:pt>
                <c:pt idx="4">
                  <c:v>74.8204</c:v>
                </c:pt>
                <c:pt idx="5">
                  <c:v>221.1781</c:v>
                </c:pt>
              </c:numCache>
            </c:numRef>
          </c:xVal>
          <c:yVal>
            <c:numRef>
              <c:f>Sheet1!$B$2:$B$7</c:f>
              <c:numCache>
                <c:formatCode>General</c:formatCode>
                <c:ptCount val="6"/>
                <c:pt idx="0">
                  <c:v>1.264</c:v>
                </c:pt>
                <c:pt idx="1">
                  <c:v>0.941</c:v>
                </c:pt>
                <c:pt idx="2">
                  <c:v>0.931</c:v>
                </c:pt>
                <c:pt idx="3">
                  <c:v>0.494</c:v>
                </c:pt>
                <c:pt idx="4">
                  <c:v>0.466</c:v>
                </c:pt>
                <c:pt idx="5">
                  <c:v>3.228</c:v>
                </c:pt>
              </c:numCache>
            </c:numRef>
          </c:yVal>
          <c:bubbleSize>
            <c:numRef>
              <c:f>Sheet1!$C$2:$C$7</c:f>
              <c:numCache>
                <c:formatCode>General</c:formatCode>
                <c:ptCount val="6"/>
                <c:pt idx="0">
                  <c:v>71214845</c:v>
                </c:pt>
                <c:pt idx="1">
                  <c:v>34650228</c:v>
                </c:pt>
                <c:pt idx="2">
                  <c:v>23619901</c:v>
                </c:pt>
                <c:pt idx="3">
                  <c:v>8454656</c:v>
                </c:pt>
                <c:pt idx="4">
                  <c:v>4294539</c:v>
                </c:pt>
                <c:pt idx="5">
                  <c:v>195145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6.0"/>
          <c:min val="6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F6B24FB-29BB-48AA-829C-04B203A9A5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E9BF812-666E-4C62-93E6-C41E387352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1054225-A92B-44BA-814A-CDED675CC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488E86E-376B-4C48-B26F-24002D2496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3B73F7D-A22C-4DE3-B4E7-227F1E7373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537AEB9-7369-401A-A6F1-175E7DA656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B7E46A9-39B5-48DA-988C-79006B488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895AE90-D6EE-4FD0-8C65-8BC77C13FA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87.347</c:v>
                </c:pt>
                <c:pt idx="1">
                  <c:v>296.7036</c:v>
                </c:pt>
                <c:pt idx="2">
                  <c:v>577.6143</c:v>
                </c:pt>
                <c:pt idx="3">
                  <c:v>583.7417</c:v>
                </c:pt>
                <c:pt idx="4">
                  <c:v>541.6534</c:v>
                </c:pt>
                <c:pt idx="5">
                  <c:v>569.4195</c:v>
                </c:pt>
                <c:pt idx="6">
                  <c:v>328.0126</c:v>
                </c:pt>
                <c:pt idx="7">
                  <c:v>675.122</c:v>
                </c:pt>
              </c:numCache>
            </c:numRef>
          </c:xVal>
          <c:yVal>
            <c:numRef>
              <c:f>Sheet1!$B$2:$B$9</c:f>
              <c:numCache>
                <c:formatCode>General</c:formatCode>
                <c:ptCount val="8"/>
                <c:pt idx="0">
                  <c:v>1.319</c:v>
                </c:pt>
                <c:pt idx="1">
                  <c:v>0.721</c:v>
                </c:pt>
                <c:pt idx="2">
                  <c:v>2.123</c:v>
                </c:pt>
                <c:pt idx="3">
                  <c:v>1.653</c:v>
                </c:pt>
                <c:pt idx="4">
                  <c:v>1.497</c:v>
                </c:pt>
                <c:pt idx="5">
                  <c:v>1.956</c:v>
                </c:pt>
                <c:pt idx="6">
                  <c:v>0.87</c:v>
                </c:pt>
                <c:pt idx="7">
                  <c:v>1.203</c:v>
                </c:pt>
              </c:numCache>
            </c:numRef>
          </c:yVal>
          <c:bubbleSize>
            <c:numRef>
              <c:f>Sheet1!$C$2:$C$9</c:f>
              <c:numCache>
                <c:formatCode>General</c:formatCode>
                <c:ptCount val="8"/>
                <c:pt idx="0">
                  <c:v>16648350</c:v>
                </c:pt>
                <c:pt idx="1">
                  <c:v>15085897</c:v>
                </c:pt>
                <c:pt idx="2">
                  <c:v>6503359</c:v>
                </c:pt>
                <c:pt idx="3">
                  <c:v>5453315</c:v>
                </c:pt>
                <c:pt idx="4">
                  <c:v>3844114</c:v>
                </c:pt>
                <c:pt idx="5">
                  <c:v>2465017</c:v>
                </c:pt>
                <c:pt idx="6">
                  <c:v>1769628</c:v>
                </c:pt>
                <c:pt idx="7">
                  <c:v>1732363</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0.0"/>
          <c:min val="23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FE7AE4E-74F2-4CDB-AD21-2AFC05D8C5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01151F-E197-4B67-ACE5-EC2882E4B8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4AE71C5-7277-4842-B730-EB2E989F3F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B91AF7B-B2C6-4122-95F0-2B525A127A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40662C0-3104-4BD7-9406-F6185589F6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89AA13B-584D-41EA-831A-641A0FF758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EA636D2-EF24-4785-A234-4230B1F71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BC3C777-DA06-4CEB-8B4F-F4F2F1CD28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62.4537</c:v>
                </c:pt>
                <c:pt idx="1">
                  <c:v>211.6416</c:v>
                </c:pt>
                <c:pt idx="2">
                  <c:v>76.6016</c:v>
                </c:pt>
              </c:numCache>
            </c:numRef>
          </c:xVal>
          <c:yVal>
            <c:numRef>
              <c:f>Sheet1!$B$2:$B$4</c:f>
              <c:numCache>
                <c:formatCode>General</c:formatCode>
                <c:ptCount val="3"/>
                <c:pt idx="0">
                  <c:v>1.148</c:v>
                </c:pt>
                <c:pt idx="1">
                  <c:v>1.065</c:v>
                </c:pt>
                <c:pt idx="2">
                  <c:v>0.573</c:v>
                </c:pt>
              </c:numCache>
            </c:numRef>
          </c:yVal>
          <c:bubbleSize>
            <c:numRef>
              <c:f>Sheet1!$C$2:$C$4</c:f>
              <c:numCache>
                <c:formatCode>General</c:formatCode>
                <c:ptCount val="3"/>
                <c:pt idx="0">
                  <c:v>15635682</c:v>
                </c:pt>
                <c:pt idx="1">
                  <c:v>8965349</c:v>
                </c:pt>
                <c:pt idx="2">
                  <c:v>291124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5.0"/>
          <c:min val="6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8810E15-BD09-4F50-9E09-BE8EC11984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2154D8E-CE11-44BB-8E49-0718277F1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49F1970-C44A-4182-BF81-5E727BF255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2671C05-8DD0-4D42-A3CB-9D27DB40FB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0D55C5B-DFFF-4F36-AC79-7130654585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F2135A3-0FBB-47EA-A37C-11EEA5608F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69F109-C418-40F7-A6FB-FA07E93448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8181775-76C1-47F0-8B7A-7C40B6C100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2.5107</c:v>
                </c:pt>
                <c:pt idx="1">
                  <c:v>221.8628</c:v>
                </c:pt>
                <c:pt idx="2">
                  <c:v>232.2505</c:v>
                </c:pt>
                <c:pt idx="3">
                  <c:v>85.3912</c:v>
                </c:pt>
                <c:pt idx="4">
                  <c:v>73.0856</c:v>
                </c:pt>
                <c:pt idx="5">
                  <c:v>222.3146</c:v>
                </c:pt>
              </c:numCache>
            </c:numRef>
          </c:xVal>
          <c:yVal>
            <c:numRef>
              <c:f>Sheet1!$B$2:$B$7</c:f>
              <c:numCache>
                <c:formatCode>General</c:formatCode>
                <c:ptCount val="6"/>
                <c:pt idx="0">
                  <c:v>1.19</c:v>
                </c:pt>
                <c:pt idx="1">
                  <c:v>0.883</c:v>
                </c:pt>
                <c:pt idx="2">
                  <c:v>0.899</c:v>
                </c:pt>
                <c:pt idx="3">
                  <c:v>0.472</c:v>
                </c:pt>
                <c:pt idx="4">
                  <c:v>0.426</c:v>
                </c:pt>
                <c:pt idx="5">
                  <c:v>3.007</c:v>
                </c:pt>
              </c:numCache>
            </c:numRef>
          </c:yVal>
          <c:bubbleSize>
            <c:numRef>
              <c:f>Sheet1!$C$2:$C$7</c:f>
              <c:numCache>
                <c:formatCode>General</c:formatCode>
                <c:ptCount val="6"/>
                <c:pt idx="0">
                  <c:v>68815552</c:v>
                </c:pt>
                <c:pt idx="1">
                  <c:v>25554382</c:v>
                </c:pt>
                <c:pt idx="2">
                  <c:v>16630064</c:v>
                </c:pt>
                <c:pt idx="3">
                  <c:v>4259142</c:v>
                </c:pt>
                <c:pt idx="4">
                  <c:v>1528440</c:v>
                </c:pt>
                <c:pt idx="5">
                  <c:v>14926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1.0"/>
          <c:min val="5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8A918A3-3C86-48C1-82D8-53BFB4885B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CEDE088-3965-4851-95BC-B810E66107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3C27FE5-0683-4677-B892-6AC6B2AD2E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93A9AE2-03F8-439A-B9BB-D873DB89E3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33FD7FD-A247-41C5-8B0C-BAE159D63A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28F2544-2582-42E8-86A4-C337DECFA0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2131E60-A210-471C-9AB7-C2E662B384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928B1E3-461D-4A76-BD7D-55B32B36D5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4.3934</c:v>
                </c:pt>
                <c:pt idx="1">
                  <c:v>600.3644</c:v>
                </c:pt>
                <c:pt idx="2">
                  <c:v>559.7216</c:v>
                </c:pt>
                <c:pt idx="3">
                  <c:v>601.637</c:v>
                </c:pt>
                <c:pt idx="4">
                  <c:v>322.1038</c:v>
                </c:pt>
                <c:pt idx="5">
                  <c:v>564.929</c:v>
                </c:pt>
                <c:pt idx="6">
                  <c:v>725.8896</c:v>
                </c:pt>
                <c:pt idx="7">
                  <c:v>519.033</c:v>
                </c:pt>
              </c:numCache>
            </c:numRef>
          </c:xVal>
          <c:yVal>
            <c:numRef>
              <c:f>Sheet1!$B$2:$B$9</c:f>
              <c:numCache>
                <c:formatCode>General</c:formatCode>
                <c:ptCount val="8"/>
                <c:pt idx="0">
                  <c:v>0.812</c:v>
                </c:pt>
                <c:pt idx="1">
                  <c:v>1.707</c:v>
                </c:pt>
                <c:pt idx="2">
                  <c:v>2.993</c:v>
                </c:pt>
                <c:pt idx="3">
                  <c:v>2.229</c:v>
                </c:pt>
                <c:pt idx="4">
                  <c:v>1.038</c:v>
                </c:pt>
                <c:pt idx="5">
                  <c:v>2.003</c:v>
                </c:pt>
                <c:pt idx="6">
                  <c:v>1.708</c:v>
                </c:pt>
                <c:pt idx="7">
                  <c:v>2.079</c:v>
                </c:pt>
              </c:numCache>
            </c:numRef>
          </c:yVal>
          <c:bubbleSize>
            <c:numRef>
              <c:f>Sheet1!$C$2:$C$9</c:f>
              <c:numCache>
                <c:formatCode>General</c:formatCode>
                <c:ptCount val="8"/>
                <c:pt idx="0">
                  <c:v>9055836</c:v>
                </c:pt>
                <c:pt idx="1">
                  <c:v>5824135</c:v>
                </c:pt>
                <c:pt idx="2">
                  <c:v>3172502</c:v>
                </c:pt>
                <c:pt idx="3">
                  <c:v>2633967</c:v>
                </c:pt>
                <c:pt idx="4">
                  <c:v>1150877</c:v>
                </c:pt>
                <c:pt idx="5">
                  <c:v>1106131</c:v>
                </c:pt>
                <c:pt idx="6">
                  <c:v>762910</c:v>
                </c:pt>
                <c:pt idx="7">
                  <c:v>6923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71.0"/>
          <c:min val="23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A3BE784-D93E-4EE8-B819-7AEF10492F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42A3DEB-1345-437F-AFAB-5F9D9FC51F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D8D0232-F52A-43AB-BB7D-B6F3607F7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36D3880-6FFE-4AE9-8F19-005C87DE3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328BB49-5DF5-4F9E-943D-26680A30DB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FA46A4E-3E49-48F4-A524-39B38AD23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38F0834-F995-46D3-BB69-02F267A092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A0122B8-0397-44D6-9494-065E2157D6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67.4881</c:v>
                </c:pt>
                <c:pt idx="1">
                  <c:v>208.134</c:v>
                </c:pt>
                <c:pt idx="2">
                  <c:v>68.6597</c:v>
                </c:pt>
              </c:numCache>
            </c:numRef>
          </c:xVal>
          <c:yVal>
            <c:numRef>
              <c:f>Sheet1!$B$2:$B$4</c:f>
              <c:numCache>
                <c:formatCode>General</c:formatCode>
                <c:ptCount val="3"/>
                <c:pt idx="0">
                  <c:v>1.113</c:v>
                </c:pt>
                <c:pt idx="1">
                  <c:v>1.02</c:v>
                </c:pt>
                <c:pt idx="2">
                  <c:v>0.522</c:v>
                </c:pt>
              </c:numCache>
            </c:numRef>
          </c:yVal>
          <c:bubbleSize>
            <c:numRef>
              <c:f>Sheet1!$C$2:$C$4</c:f>
              <c:numCache>
                <c:formatCode>General</c:formatCode>
                <c:ptCount val="3"/>
                <c:pt idx="0">
                  <c:v>13521524</c:v>
                </c:pt>
                <c:pt idx="1">
                  <c:v>6122471</c:v>
                </c:pt>
                <c:pt idx="2">
                  <c:v>124795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1.0"/>
          <c:min val="5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FED9537D-1174-4F45-85D4-B061BE0225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D141AEF2-45DB-48E2-B3F0-CCF7F9FC3D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265EC7C7-664C-4623-A342-F21DA7C9CE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D001A2E0-53E6-460D-9754-FADABE2B72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4C586DD6-14DB-4C92-914E-FB1F11D298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EB5065B0-ECAC-427D-B07A-51A50331D0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8F7FFF4E-7BC7-4AC9-B5FD-0382D9C62E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C9B835DE-7721-4585-AE84-771D445879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26.7676</c:v>
                </c:pt>
                <c:pt idx="1">
                  <c:v>148.6302</c:v>
                </c:pt>
                <c:pt idx="2">
                  <c:v>108.1014</c:v>
                </c:pt>
                <c:pt idx="3">
                  <c:v>409.2717</c:v>
                </c:pt>
              </c:numCache>
            </c:numRef>
          </c:xVal>
          <c:yVal>
            <c:numRef>
              <c:f>Sheet1!$B$2:$B$5</c:f>
              <c:numCache>
                <c:formatCode>General</c:formatCode>
                <c:ptCount val="4"/>
                <c:pt idx="0">
                  <c:v>0.919</c:v>
                </c:pt>
                <c:pt idx="1">
                  <c:v>1.191</c:v>
                </c:pt>
                <c:pt idx="2">
                  <c:v>1.031</c:v>
                </c:pt>
                <c:pt idx="3">
                  <c:v>4.783</c:v>
                </c:pt>
              </c:numCache>
            </c:numRef>
          </c:yVal>
          <c:bubbleSize>
            <c:numRef>
              <c:f>Sheet1!$C$2:$C$5</c:f>
              <c:numCache>
                <c:formatCode>General</c:formatCode>
                <c:ptCount val="4"/>
                <c:pt idx="0">
                  <c:v>933136</c:v>
                </c:pt>
                <c:pt idx="1">
                  <c:v>673146</c:v>
                </c:pt>
                <c:pt idx="2">
                  <c:v>500077</c:v>
                </c:pt>
                <c:pt idx="3">
                  <c:v>37653</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1.0"/>
          <c:min val="86.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0C082EB-0489-43FD-9B16-AB01DBA2E5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3E1360B-501D-45AE-BE12-EECCE4BC8B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2B0D97E-8B8A-4AA0-BF8D-48A962D315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C18FAC0-6CA7-40AD-A954-4CE98A319F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B722BD8-D1C2-4D6E-877B-D4F1EEF755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6CA370B-66AE-4CAA-A3E5-6A09B2A8F2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14F469F-3B3E-4434-8AFB-7DAA6E3131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46C9A59-96C4-42C8-B082-93D591CE62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8.3179</c:v>
                </c:pt>
                <c:pt idx="1">
                  <c:v>290.3998</c:v>
                </c:pt>
                <c:pt idx="2">
                  <c:v>239.0546</c:v>
                </c:pt>
                <c:pt idx="3">
                  <c:v>239.318</c:v>
                </c:pt>
                <c:pt idx="4">
                  <c:v>84.7851</c:v>
                </c:pt>
                <c:pt idx="5">
                  <c:v>583.2216</c:v>
                </c:pt>
                <c:pt idx="6">
                  <c:v>74.3605</c:v>
                </c:pt>
                <c:pt idx="7">
                  <c:v>608.1459</c:v>
                </c:pt>
              </c:numCache>
            </c:numRef>
          </c:xVal>
          <c:yVal>
            <c:numRef>
              <c:f>Sheet1!$B$2:$B$9</c:f>
              <c:numCache>
                <c:formatCode>General</c:formatCode>
                <c:ptCount val="8"/>
                <c:pt idx="0">
                  <c:v>1.354</c:v>
                </c:pt>
                <c:pt idx="1">
                  <c:v>1.986</c:v>
                </c:pt>
                <c:pt idx="2">
                  <c:v>0.722</c:v>
                </c:pt>
                <c:pt idx="3">
                  <c:v>0.659</c:v>
                </c:pt>
                <c:pt idx="4">
                  <c:v>0.413</c:v>
                </c:pt>
                <c:pt idx="5">
                  <c:v>7.76</c:v>
                </c:pt>
                <c:pt idx="6">
                  <c:v>0.387</c:v>
                </c:pt>
                <c:pt idx="7">
                  <c:v>4.844</c:v>
                </c:pt>
              </c:numCache>
            </c:numRef>
          </c:yVal>
          <c:bubbleSize>
            <c:numRef>
              <c:f>Sheet1!$C$2:$C$9</c:f>
              <c:numCache>
                <c:formatCode>General</c:formatCode>
                <c:ptCount val="8"/>
                <c:pt idx="0">
                  <c:v>220806067</c:v>
                </c:pt>
                <c:pt idx="1">
                  <c:v>99185766</c:v>
                </c:pt>
                <c:pt idx="2">
                  <c:v>75019886</c:v>
                </c:pt>
                <c:pt idx="3">
                  <c:v>66004370</c:v>
                </c:pt>
                <c:pt idx="4">
                  <c:v>61986804</c:v>
                </c:pt>
                <c:pt idx="5">
                  <c:v>54751094</c:v>
                </c:pt>
                <c:pt idx="6">
                  <c:v>23746346</c:v>
                </c:pt>
                <c:pt idx="7">
                  <c:v>1581361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0.0"/>
          <c:min val="5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B9DEA3C-22EF-47CF-8D28-BAA166D908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01700CF-7F64-4469-8215-798B01CD08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8526BA3-CA53-4331-B5E4-F8A01A66B9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273C01F-34FF-4C71-9753-AD618C7D9A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25296D1-7CF7-4BA1-AB34-05C068FFE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EF14D3A-29F8-4049-A1E0-882484A9A7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9B7D255-D14C-4300-A0EA-C33D7CE07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042B2F0-9B12-4481-974A-7A737A8D1E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26.2193</c:v>
                </c:pt>
                <c:pt idx="1">
                  <c:v>184.5881</c:v>
                </c:pt>
                <c:pt idx="2">
                  <c:v>153.4755</c:v>
                </c:pt>
                <c:pt idx="3">
                  <c:v>206.3025</c:v>
                </c:pt>
              </c:numCache>
            </c:numRef>
          </c:xVal>
          <c:yVal>
            <c:numRef>
              <c:f>Sheet1!$B$2:$B$5</c:f>
              <c:numCache>
                <c:formatCode>General</c:formatCode>
                <c:ptCount val="4"/>
                <c:pt idx="0">
                  <c:v>0.973</c:v>
                </c:pt>
                <c:pt idx="1">
                  <c:v>0.878</c:v>
                </c:pt>
                <c:pt idx="2">
                  <c:v>0.815</c:v>
                </c:pt>
                <c:pt idx="3">
                  <c:v>2.967</c:v>
                </c:pt>
              </c:numCache>
            </c:numRef>
          </c:yVal>
          <c:bubbleSize>
            <c:numRef>
              <c:f>Sheet1!$C$2:$C$5</c:f>
              <c:numCache>
                <c:formatCode>General</c:formatCode>
                <c:ptCount val="4"/>
                <c:pt idx="0">
                  <c:v>158375035</c:v>
                </c:pt>
                <c:pt idx="1">
                  <c:v>134294871</c:v>
                </c:pt>
                <c:pt idx="2">
                  <c:v>28962983</c:v>
                </c:pt>
                <c:pt idx="3">
                  <c:v>1245902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1.0"/>
          <c:min val="12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7716ADB-D627-457B-BDBB-E54470665B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F982C95-BF14-4C98-95B4-D7C5B6E84D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BD09384-9CD8-4483-9B6E-B3AA5CE676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6FAF64E-D961-4958-B18A-63ACD6AB43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2726F3E-BFEA-48C3-A911-783F417DDD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F154CC3-CC37-4C4F-B276-4DB0AC9D59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2C08F0B-5077-4A17-B0C2-A083320362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2036CFF-E60E-42AE-9450-F6E44D9109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58.0504</c:v>
                </c:pt>
                <c:pt idx="1">
                  <c:v>589.7992</c:v>
                </c:pt>
                <c:pt idx="2">
                  <c:v>552.8798</c:v>
                </c:pt>
                <c:pt idx="3">
                  <c:v>161.5934</c:v>
                </c:pt>
                <c:pt idx="4">
                  <c:v>133.5788</c:v>
                </c:pt>
                <c:pt idx="5">
                  <c:v>539.2774</c:v>
                </c:pt>
                <c:pt idx="6">
                  <c:v>567.2019</c:v>
                </c:pt>
              </c:numCache>
            </c:numRef>
          </c:xVal>
          <c:yVal>
            <c:numRef>
              <c:f>Sheet1!$B$2:$B$8</c:f>
              <c:numCache>
                <c:formatCode>General</c:formatCode>
                <c:ptCount val="7"/>
                <c:pt idx="0">
                  <c:v>1.021</c:v>
                </c:pt>
                <c:pt idx="1">
                  <c:v>1.805</c:v>
                </c:pt>
                <c:pt idx="2">
                  <c:v>8.344</c:v>
                </c:pt>
                <c:pt idx="3">
                  <c:v>0.496</c:v>
                </c:pt>
                <c:pt idx="4">
                  <c:v>0.323</c:v>
                </c:pt>
                <c:pt idx="5">
                  <c:v>8.555</c:v>
                </c:pt>
                <c:pt idx="6">
                  <c:v>52.46</c:v>
                </c:pt>
              </c:numCache>
            </c:numRef>
          </c:yVal>
          <c:bubbleSize>
            <c:numRef>
              <c:f>Sheet1!$C$2:$C$8</c:f>
              <c:numCache>
                <c:formatCode>General</c:formatCode>
                <c:ptCount val="7"/>
                <c:pt idx="0">
                  <c:v>91166125</c:v>
                </c:pt>
                <c:pt idx="1">
                  <c:v>16169345</c:v>
                </c:pt>
                <c:pt idx="2">
                  <c:v>11875859</c:v>
                </c:pt>
                <c:pt idx="3">
                  <c:v>9268512</c:v>
                </c:pt>
                <c:pt idx="4">
                  <c:v>7397860</c:v>
                </c:pt>
                <c:pt idx="5">
                  <c:v>5504944</c:v>
                </c:pt>
                <c:pt idx="6">
                  <c:v>157341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8.0"/>
          <c:min val="10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EB24AD8-4578-4468-9EFD-E09DECAF1E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9805CD3-D9A3-4CC8-A9B0-38D0EB0691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FC0B1D4-0D7C-4D2A-AC1C-2FEBA75598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9E2D08A-ADB5-47F3-A121-8BBB99210B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C7D3999-CBEE-4002-AC76-7A524C5AAC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8A55434-E118-4952-A3A5-A9076CF1A3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DE75939-FDA1-42A5-9F67-3CABE10113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D87792B-CC3F-4808-B3E3-5B03CEDFC1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51.9562</c:v>
                </c:pt>
                <c:pt idx="1">
                  <c:v>580.106</c:v>
                </c:pt>
                <c:pt idx="2">
                  <c:v>243.3535</c:v>
                </c:pt>
                <c:pt idx="3">
                  <c:v>533.7915</c:v>
                </c:pt>
                <c:pt idx="4">
                  <c:v>524.2492</c:v>
                </c:pt>
                <c:pt idx="5">
                  <c:v>369.1292</c:v>
                </c:pt>
                <c:pt idx="6">
                  <c:v>269.4524</c:v>
                </c:pt>
              </c:numCache>
            </c:numRef>
          </c:xVal>
          <c:yVal>
            <c:numRef>
              <c:f>Sheet1!$B$2:$B$8</c:f>
              <c:numCache>
                <c:formatCode>General</c:formatCode>
                <c:ptCount val="7"/>
                <c:pt idx="0">
                  <c:v>1.123</c:v>
                </c:pt>
                <c:pt idx="1">
                  <c:v>1.301</c:v>
                </c:pt>
                <c:pt idx="2">
                  <c:v>0.568</c:v>
                </c:pt>
                <c:pt idx="3">
                  <c:v>1.852</c:v>
                </c:pt>
                <c:pt idx="4">
                  <c:v>1.037</c:v>
                </c:pt>
                <c:pt idx="5">
                  <c:v>1.389</c:v>
                </c:pt>
                <c:pt idx="6">
                  <c:v>0.516</c:v>
                </c:pt>
              </c:numCache>
            </c:numRef>
          </c:yVal>
          <c:bubbleSize>
            <c:numRef>
              <c:f>Sheet1!$C$2:$C$8</c:f>
              <c:numCache>
                <c:formatCode>General</c:formatCode>
                <c:ptCount val="7"/>
                <c:pt idx="0">
                  <c:v>17135479</c:v>
                </c:pt>
                <c:pt idx="1">
                  <c:v>14920906</c:v>
                </c:pt>
                <c:pt idx="2">
                  <c:v>11123445</c:v>
                </c:pt>
                <c:pt idx="3">
                  <c:v>4767826</c:v>
                </c:pt>
                <c:pt idx="4">
                  <c:v>4638557</c:v>
                </c:pt>
                <c:pt idx="5">
                  <c:v>2334373</c:v>
                </c:pt>
                <c:pt idx="6">
                  <c:v>67605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6.0"/>
          <c:min val="19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8A1AF9C-178B-473F-AA70-65C9FA4AAA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043F329-507B-469E-86F3-01BB8B5104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343E580-FA27-43B3-8409-053FC88CCB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16BAF67-241F-4196-8AB1-EF1E6E256B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0193A46-BAAA-45F2-B547-45B6124105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ABF5952-E697-4625-A86A-679D1A1CFD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3C19234-C141-40A4-A647-47C7D6973B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946EDE8-672E-4B08-B05C-91C6F65C49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82.4912</c:v>
                </c:pt>
                <c:pt idx="1">
                  <c:v>268.608</c:v>
                </c:pt>
                <c:pt idx="2">
                  <c:v>267.4877</c:v>
                </c:pt>
                <c:pt idx="3">
                  <c:v>574.6985</c:v>
                </c:pt>
              </c:numCache>
            </c:numRef>
          </c:xVal>
          <c:yVal>
            <c:numRef>
              <c:f>Sheet1!$B$2:$B$5</c:f>
              <c:numCache>
                <c:formatCode>General</c:formatCode>
                <c:ptCount val="4"/>
                <c:pt idx="0">
                  <c:v>1.011</c:v>
                </c:pt>
                <c:pt idx="1">
                  <c:v>0.998</c:v>
                </c:pt>
                <c:pt idx="2">
                  <c:v>0.902</c:v>
                </c:pt>
                <c:pt idx="3">
                  <c:v>4.316</c:v>
                </c:pt>
              </c:numCache>
            </c:numRef>
          </c:yVal>
          <c:bubbleSize>
            <c:numRef>
              <c:f>Sheet1!$C$2:$C$5</c:f>
              <c:numCache>
                <c:formatCode>General</c:formatCode>
                <c:ptCount val="4"/>
                <c:pt idx="0">
                  <c:v>46398891</c:v>
                </c:pt>
                <c:pt idx="1">
                  <c:v>39830266</c:v>
                </c:pt>
                <c:pt idx="2">
                  <c:v>38066705</c:v>
                </c:pt>
                <c:pt idx="3">
                  <c:v>32878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0.0"/>
          <c:min val="2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3AA3D13-0662-42E7-BF59-AE7DB8B1EA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7EFC877-BAEC-4802-950C-F7EB8C9323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DA375D6-99AF-4C2E-874B-2801FFBB0B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492AD8A-6970-4F2A-A5C2-3C4773117D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65345AB-DAF0-4596-BE8F-8059F1B28E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638BDBF-6861-48E6-9000-40BEF9B8D0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D74EF97-F3E8-4990-8D00-A71BB69F30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7CC7E2F-0B63-4590-A4D7-6BE8696013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7.7157</c:v>
                </c:pt>
                <c:pt idx="1">
                  <c:v>289.7526</c:v>
                </c:pt>
                <c:pt idx="2">
                  <c:v>237.3521</c:v>
                </c:pt>
                <c:pt idx="3">
                  <c:v>241.7923</c:v>
                </c:pt>
                <c:pt idx="4">
                  <c:v>605.1103</c:v>
                </c:pt>
                <c:pt idx="5">
                  <c:v>84.5424</c:v>
                </c:pt>
                <c:pt idx="6">
                  <c:v>74.7126</c:v>
                </c:pt>
                <c:pt idx="7">
                  <c:v>608.3309</c:v>
                </c:pt>
              </c:numCache>
            </c:numRef>
          </c:xVal>
          <c:yVal>
            <c:numRef>
              <c:f>Sheet1!$B$2:$B$9</c:f>
              <c:numCache>
                <c:formatCode>General</c:formatCode>
                <c:ptCount val="8"/>
                <c:pt idx="0">
                  <c:v>1.315</c:v>
                </c:pt>
                <c:pt idx="1">
                  <c:v>1.937</c:v>
                </c:pt>
                <c:pt idx="2">
                  <c:v>0.704</c:v>
                </c:pt>
                <c:pt idx="3">
                  <c:v>0.643</c:v>
                </c:pt>
                <c:pt idx="4">
                  <c:v>7.54</c:v>
                </c:pt>
                <c:pt idx="5">
                  <c:v>0.395</c:v>
                </c:pt>
                <c:pt idx="6">
                  <c:v>0.377</c:v>
                </c:pt>
                <c:pt idx="7">
                  <c:v>4.652</c:v>
                </c:pt>
              </c:numCache>
            </c:numRef>
          </c:yVal>
          <c:bubbleSize>
            <c:numRef>
              <c:f>Sheet1!$C$2:$C$9</c:f>
              <c:numCache>
                <c:formatCode>General</c:formatCode>
                <c:ptCount val="8"/>
                <c:pt idx="0">
                  <c:v>50208653</c:v>
                </c:pt>
                <c:pt idx="1">
                  <c:v>27303679</c:v>
                </c:pt>
                <c:pt idx="2">
                  <c:v>16480779</c:v>
                </c:pt>
                <c:pt idx="3">
                  <c:v>13895559</c:v>
                </c:pt>
                <c:pt idx="4">
                  <c:v>13297903</c:v>
                </c:pt>
                <c:pt idx="5">
                  <c:v>13020373</c:v>
                </c:pt>
                <c:pt idx="6">
                  <c:v>6583303</c:v>
                </c:pt>
                <c:pt idx="7">
                  <c:v>338657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0.0"/>
          <c:min val="6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4806597-6D74-4950-BAAC-EA7BDD5085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9B357C-727D-47A6-B2AA-A095122FED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34A6395-83CC-416E-9FB3-6933BC9083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62ED642-2515-458A-B14D-383DFBF9B2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C8E66AA-2A17-45AA-AB5A-07562522EA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ACA268A-5989-4D68-9B28-7535B97C02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59B578F-FC7C-4EA2-8C61-B36D348799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AF4C471-69BE-49C1-993C-9C0876BCCC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74.4376</c:v>
                </c:pt>
                <c:pt idx="1">
                  <c:v>229.6143</c:v>
                </c:pt>
                <c:pt idx="2">
                  <c:v>155.3701</c:v>
                </c:pt>
                <c:pt idx="3">
                  <c:v>227.9861</c:v>
                </c:pt>
              </c:numCache>
            </c:numRef>
          </c:xVal>
          <c:yVal>
            <c:numRef>
              <c:f>Sheet1!$B$2:$B$5</c:f>
              <c:numCache>
                <c:formatCode>General</c:formatCode>
                <c:ptCount val="4"/>
                <c:pt idx="0">
                  <c:v>0.89</c:v>
                </c:pt>
                <c:pt idx="1">
                  <c:v>0.962</c:v>
                </c:pt>
                <c:pt idx="2">
                  <c:v>0.782</c:v>
                </c:pt>
                <c:pt idx="3">
                  <c:v>3.168</c:v>
                </c:pt>
              </c:numCache>
            </c:numRef>
          </c:yVal>
          <c:bubbleSize>
            <c:numRef>
              <c:f>Sheet1!$C$2:$C$5</c:f>
              <c:numCache>
                <c:formatCode>General</c:formatCode>
                <c:ptCount val="4"/>
                <c:pt idx="0">
                  <c:v>32727980</c:v>
                </c:pt>
                <c:pt idx="1">
                  <c:v>32367575</c:v>
                </c:pt>
                <c:pt idx="2">
                  <c:v>7441762</c:v>
                </c:pt>
                <c:pt idx="3">
                  <c:v>301762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6.0"/>
          <c:min val="1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2501058-47D6-4011-AF15-6352DE0B45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63CD947-AEBE-4D06-BE89-6EBF23E49A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BB38915-CC75-4883-9D30-6419AB8C3A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EB102E8-D398-457F-95E9-D58CF2FFE4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6202EAE-657E-4427-858A-2B15F0478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8004040-9977-4FF8-A2CB-846FC12346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C200843-3C3C-4728-9A0D-C55CA13F92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F3A1D7D-4FBA-45BD-87EC-174DFA08E7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58.5133</c:v>
                </c:pt>
                <c:pt idx="1">
                  <c:v>593.1544</c:v>
                </c:pt>
                <c:pt idx="2">
                  <c:v>537.7614</c:v>
                </c:pt>
                <c:pt idx="3">
                  <c:v>170.9725</c:v>
                </c:pt>
                <c:pt idx="4">
                  <c:v>135.572</c:v>
                </c:pt>
                <c:pt idx="5">
                  <c:v>557.7117</c:v>
                </c:pt>
                <c:pt idx="6">
                  <c:v>439.1394</c:v>
                </c:pt>
              </c:numCache>
            </c:numRef>
          </c:xVal>
          <c:yVal>
            <c:numRef>
              <c:f>Sheet1!$B$2:$B$8</c:f>
              <c:numCache>
                <c:formatCode>General</c:formatCode>
                <c:ptCount val="7"/>
                <c:pt idx="0">
                  <c:v>1.005</c:v>
                </c:pt>
                <c:pt idx="1">
                  <c:v>1.745</c:v>
                </c:pt>
                <c:pt idx="2">
                  <c:v>8.119</c:v>
                </c:pt>
                <c:pt idx="3">
                  <c:v>0.52</c:v>
                </c:pt>
                <c:pt idx="4">
                  <c:v>0.313</c:v>
                </c:pt>
                <c:pt idx="5">
                  <c:v>8.957</c:v>
                </c:pt>
                <c:pt idx="6">
                  <c:v>3.332</c:v>
                </c:pt>
              </c:numCache>
            </c:numRef>
          </c:yVal>
          <c:bubbleSize>
            <c:numRef>
              <c:f>Sheet1!$C$2:$C$8</c:f>
              <c:numCache>
                <c:formatCode>General</c:formatCode>
                <c:ptCount val="7"/>
                <c:pt idx="0">
                  <c:v>18675262</c:v>
                </c:pt>
                <c:pt idx="1">
                  <c:v>3569010</c:v>
                </c:pt>
                <c:pt idx="2">
                  <c:v>2905525</c:v>
                </c:pt>
                <c:pt idx="3">
                  <c:v>1737764</c:v>
                </c:pt>
                <c:pt idx="4">
                  <c:v>1670789</c:v>
                </c:pt>
                <c:pt idx="5">
                  <c:v>924686</c:v>
                </c:pt>
                <c:pt idx="6">
                  <c:v>3622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2.0"/>
          <c:min val="10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CA15C0-488B-4F14-BD92-1232A6A67E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8F5519E-9F81-4D26-AD99-3B12B0095B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BA6B465-1DDC-40B7-BB08-2D92746D4A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289D498-B2F0-4654-947B-E42B8A3875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0C262E0-769F-444C-A2D2-0AEA05CFC9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AADD5A5-7629-454E-B121-FBEEEB6C76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FFA6682-DD98-474E-9BDD-1C04F055D8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8C59615-881C-46F4-9457-A5358018B2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97.2138</c:v>
                </c:pt>
                <c:pt idx="1">
                  <c:v>592.0807</c:v>
                </c:pt>
                <c:pt idx="2">
                  <c:v>245.9218</c:v>
                </c:pt>
                <c:pt idx="3">
                  <c:v>524.3742</c:v>
                </c:pt>
                <c:pt idx="4">
                  <c:v>527.8218</c:v>
                </c:pt>
                <c:pt idx="5">
                  <c:v>392.7601</c:v>
                </c:pt>
                <c:pt idx="6">
                  <c:v>271.2401</c:v>
                </c:pt>
              </c:numCache>
            </c:numRef>
          </c:xVal>
          <c:yVal>
            <c:numRef>
              <c:f>Sheet1!$B$2:$B$8</c:f>
              <c:numCache>
                <c:formatCode>General</c:formatCode>
                <c:ptCount val="7"/>
                <c:pt idx="0">
                  <c:v>1.276</c:v>
                </c:pt>
                <c:pt idx="1">
                  <c:v>1.268</c:v>
                </c:pt>
                <c:pt idx="2">
                  <c:v>0.601</c:v>
                </c:pt>
                <c:pt idx="3">
                  <c:v>1.06</c:v>
                </c:pt>
                <c:pt idx="4">
                  <c:v>3.38</c:v>
                </c:pt>
                <c:pt idx="5">
                  <c:v>1.738</c:v>
                </c:pt>
                <c:pt idx="6">
                  <c:v>0.52</c:v>
                </c:pt>
              </c:numCache>
            </c:numRef>
          </c:yVal>
          <c:bubbleSize>
            <c:numRef>
              <c:f>Sheet1!$C$2:$C$8</c:f>
              <c:numCache>
                <c:formatCode>General</c:formatCode>
                <c:ptCount val="7"/>
                <c:pt idx="0">
                  <c:v>3184941</c:v>
                </c:pt>
                <c:pt idx="1">
                  <c:v>2691007</c:v>
                </c:pt>
                <c:pt idx="2">
                  <c:v>2638741</c:v>
                </c:pt>
                <c:pt idx="3">
                  <c:v>1334008</c:v>
                </c:pt>
                <c:pt idx="4">
                  <c:v>562658</c:v>
                </c:pt>
                <c:pt idx="5">
                  <c:v>379799</c:v>
                </c:pt>
                <c:pt idx="6">
                  <c:v>25984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7.0"/>
          <c:min val="19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290B10-5826-4630-861D-C0429AF89C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5D8FBA0-A2BB-4C75-997B-8AE656A8FE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CBE8BBC-4C8B-443B-BC0E-3171256E5E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6C0EDA5-455E-4FA1-9572-0047E80657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617FD61-6139-4439-8D2A-84A67B05B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F0B5FEC-7B53-4402-BB8F-64C108EC40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FCAC3FC-6436-4387-8D87-4F1943BA1B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37E6E7C-BDB9-4153-A64E-A1CB1EE28C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76.6112</c:v>
                </c:pt>
                <c:pt idx="1">
                  <c:v>257.6296</c:v>
                </c:pt>
                <c:pt idx="2">
                  <c:v>270.7098</c:v>
                </c:pt>
                <c:pt idx="3">
                  <c:v>571.7643</c:v>
                </c:pt>
                <c:pt idx="4">
                  <c:v>686.5945</c:v>
                </c:pt>
              </c:numCache>
            </c:numRef>
          </c:xVal>
          <c:yVal>
            <c:numRef>
              <c:f>Sheet1!$B$2:$B$6</c:f>
              <c:numCache>
                <c:formatCode>General</c:formatCode>
                <c:ptCount val="5"/>
                <c:pt idx="0">
                  <c:v>1.018</c:v>
                </c:pt>
                <c:pt idx="1">
                  <c:v>1.01</c:v>
                </c:pt>
                <c:pt idx="2">
                  <c:v>0.837</c:v>
                </c:pt>
                <c:pt idx="3">
                  <c:v>4.298</c:v>
                </c:pt>
                <c:pt idx="4">
                  <c:v>2.634</c:v>
                </c:pt>
              </c:numCache>
            </c:numRef>
          </c:yVal>
          <c:bubbleSize>
            <c:numRef>
              <c:f>Sheet1!$C$2:$C$6</c:f>
              <c:numCache>
                <c:formatCode>General</c:formatCode>
                <c:ptCount val="5"/>
                <c:pt idx="0">
                  <c:v>8288101</c:v>
                </c:pt>
                <c:pt idx="1">
                  <c:v>5468446</c:v>
                </c:pt>
                <c:pt idx="2">
                  <c:v>5208456</c:v>
                </c:pt>
                <c:pt idx="3">
                  <c:v>909677</c:v>
                </c:pt>
                <c:pt idx="4">
                  <c:v>3487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4.0"/>
          <c:min val="20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1E501DF-8814-42C9-909D-C508D84ADC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E3FB70F-65A7-4D21-B0DF-742012635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E63774A-19AB-40F6-9253-D5E149E16F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68B40C4-0B15-4B8F-A9E8-B26BC12EE8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CCDBC61-B7E0-4A20-8F91-94019E6A22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B1A41B2-8F76-4E17-B57C-E07B2E6A71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47161BF-8200-4249-8FF8-0705D0C006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A1A3AF0-42DB-4A49-99AA-CBA56E3B6B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2595</c:v>
                </c:pt>
                <c:pt idx="1">
                  <c:v>197.4428</c:v>
                </c:pt>
                <c:pt idx="2">
                  <c:v>215.5523</c:v>
                </c:pt>
                <c:pt idx="3">
                  <c:v>289.4863</c:v>
                </c:pt>
                <c:pt idx="4">
                  <c:v>591.1292</c:v>
                </c:pt>
                <c:pt idx="5">
                  <c:v>84.3188</c:v>
                </c:pt>
                <c:pt idx="6">
                  <c:v>567.7175</c:v>
                </c:pt>
                <c:pt idx="7">
                  <c:v>227.9861</c:v>
                </c:pt>
              </c:numCache>
            </c:numRef>
          </c:xVal>
          <c:yVal>
            <c:numRef>
              <c:f>Sheet1!$B$2:$B$9</c:f>
              <c:numCache>
                <c:formatCode>General</c:formatCode>
                <c:ptCount val="8"/>
                <c:pt idx="0">
                  <c:v>1.037</c:v>
                </c:pt>
                <c:pt idx="1">
                  <c:v>0.745</c:v>
                </c:pt>
                <c:pt idx="2">
                  <c:v>0.69</c:v>
                </c:pt>
                <c:pt idx="3">
                  <c:v>2.046</c:v>
                </c:pt>
                <c:pt idx="4">
                  <c:v>4.246</c:v>
                </c:pt>
                <c:pt idx="5">
                  <c:v>0.405</c:v>
                </c:pt>
                <c:pt idx="6">
                  <c:v>4.907</c:v>
                </c:pt>
                <c:pt idx="7">
                  <c:v>2.719</c:v>
                </c:pt>
              </c:numCache>
            </c:numRef>
          </c:yVal>
          <c:bubbleSize>
            <c:numRef>
              <c:f>Sheet1!$C$2:$C$9</c:f>
              <c:numCache>
                <c:formatCode>General</c:formatCode>
                <c:ptCount val="8"/>
                <c:pt idx="0">
                  <c:v>113249134</c:v>
                </c:pt>
                <c:pt idx="1">
                  <c:v>58289864</c:v>
                </c:pt>
                <c:pt idx="2">
                  <c:v>41961776</c:v>
                </c:pt>
                <c:pt idx="3">
                  <c:v>28274994</c:v>
                </c:pt>
                <c:pt idx="4">
                  <c:v>25478849</c:v>
                </c:pt>
                <c:pt idx="5">
                  <c:v>13081218</c:v>
                </c:pt>
                <c:pt idx="6">
                  <c:v>9442278</c:v>
                </c:pt>
                <c:pt idx="7">
                  <c:v>301762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0"/>
          <c:min val="67.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8D13068-2251-49EA-B87C-7177542973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ED37F52-8FA2-49D3-A0E2-7A9C81F872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461737E-6B38-4DDD-8974-2838F7AC9A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3319FC0-39C2-4B71-9CDD-A56E72A562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7C4B175-476D-4D25-BE20-8604C0CDF7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42E23CB-EAF7-48FB-9FD4-4698391061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387569B-8FFD-4DBD-A468-1DC2F3CFAF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BF37A60-7932-4472-AD49-9860492932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2.1934</c:v>
                </c:pt>
                <c:pt idx="1">
                  <c:v>221.4801</c:v>
                </c:pt>
                <c:pt idx="2">
                  <c:v>230.2981</c:v>
                </c:pt>
                <c:pt idx="3">
                  <c:v>282.0527</c:v>
                </c:pt>
                <c:pt idx="4">
                  <c:v>87.4032</c:v>
                </c:pt>
                <c:pt idx="5">
                  <c:v>605.0969</c:v>
                </c:pt>
                <c:pt idx="6">
                  <c:v>73.7171</c:v>
                </c:pt>
                <c:pt idx="7">
                  <c:v>156.0933</c:v>
                </c:pt>
              </c:numCache>
            </c:numRef>
          </c:xVal>
          <c:yVal>
            <c:numRef>
              <c:f>Sheet1!$B$2:$B$9</c:f>
              <c:numCache>
                <c:formatCode>General</c:formatCode>
                <c:ptCount val="8"/>
                <c:pt idx="0">
                  <c:v>1.129</c:v>
                </c:pt>
                <c:pt idx="1">
                  <c:v>0.853</c:v>
                </c:pt>
                <c:pt idx="2">
                  <c:v>0.872</c:v>
                </c:pt>
                <c:pt idx="3">
                  <c:v>2.084</c:v>
                </c:pt>
                <c:pt idx="4">
                  <c:v>0.473</c:v>
                </c:pt>
                <c:pt idx="5">
                  <c:v>4.97</c:v>
                </c:pt>
                <c:pt idx="6">
                  <c:v>0.446</c:v>
                </c:pt>
                <c:pt idx="7">
                  <c:v>2.249</c:v>
                </c:pt>
              </c:numCache>
            </c:numRef>
          </c:yVal>
          <c:bubbleSize>
            <c:numRef>
              <c:f>Sheet1!$C$2:$C$9</c:f>
              <c:numCache>
                <c:formatCode>General</c:formatCode>
                <c:ptCount val="8"/>
                <c:pt idx="0">
                  <c:v>106919192</c:v>
                </c:pt>
                <c:pt idx="1">
                  <c:v>45886031</c:v>
                </c:pt>
                <c:pt idx="2">
                  <c:v>33832400</c:v>
                </c:pt>
                <c:pt idx="3">
                  <c:v>13126731</c:v>
                </c:pt>
                <c:pt idx="4">
                  <c:v>10154333</c:v>
                </c:pt>
                <c:pt idx="5">
                  <c:v>3786091</c:v>
                </c:pt>
                <c:pt idx="6">
                  <c:v>3202788</c:v>
                </c:pt>
                <c:pt idx="7">
                  <c:v>223447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6.0"/>
          <c:min val="59.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92EC7B5-7946-4AE5-AC61-15681798F0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ED45102-D3BF-4D65-A660-6030BD8959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4D3EE0B-076D-4376-BE26-B99B839AE5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801DFC5-A695-4149-BCF4-84B4C7EEB6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9476FB4-4DED-4F7C-BF09-7A6B4E865F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D363C96-0645-4662-BB2B-0885C0C3B3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BBC048D-28EB-467F-9701-13FF3B465D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EFB4CA6-49FA-4DD7-ACD1-DCCA350395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0.8622</c:v>
                </c:pt>
                <c:pt idx="1">
                  <c:v>557.1028</c:v>
                </c:pt>
                <c:pt idx="2">
                  <c:v>292.4117</c:v>
                </c:pt>
                <c:pt idx="3">
                  <c:v>233.6338</c:v>
                </c:pt>
                <c:pt idx="4">
                  <c:v>83.2411</c:v>
                </c:pt>
                <c:pt idx="5">
                  <c:v>229.7427</c:v>
                </c:pt>
                <c:pt idx="6">
                  <c:v>503.9979</c:v>
                </c:pt>
                <c:pt idx="7">
                  <c:v>610.582</c:v>
                </c:pt>
              </c:numCache>
            </c:numRef>
          </c:xVal>
          <c:yVal>
            <c:numRef>
              <c:f>Sheet1!$B$2:$B$9</c:f>
              <c:numCache>
                <c:formatCode>General</c:formatCode>
                <c:ptCount val="8"/>
                <c:pt idx="0">
                  <c:v>1.138</c:v>
                </c:pt>
                <c:pt idx="1">
                  <c:v>5.613</c:v>
                </c:pt>
                <c:pt idx="2">
                  <c:v>1.616</c:v>
                </c:pt>
                <c:pt idx="3">
                  <c:v>0.504</c:v>
                </c:pt>
                <c:pt idx="4">
                  <c:v>0.323</c:v>
                </c:pt>
                <c:pt idx="5">
                  <c:v>0.569</c:v>
                </c:pt>
                <c:pt idx="6">
                  <c:v>3.534</c:v>
                </c:pt>
                <c:pt idx="7">
                  <c:v>5.607</c:v>
                </c:pt>
              </c:numCache>
            </c:numRef>
          </c:yVal>
          <c:bubbleSize>
            <c:numRef>
              <c:f>Sheet1!$C$2:$C$9</c:f>
              <c:numCache>
                <c:formatCode>General</c:formatCode>
                <c:ptCount val="8"/>
                <c:pt idx="0">
                  <c:v>37755157</c:v>
                </c:pt>
                <c:pt idx="1">
                  <c:v>21833973</c:v>
                </c:pt>
                <c:pt idx="2">
                  <c:v>19050625</c:v>
                </c:pt>
                <c:pt idx="3">
                  <c:v>10213069</c:v>
                </c:pt>
                <c:pt idx="4">
                  <c:v>9481823</c:v>
                </c:pt>
                <c:pt idx="5">
                  <c:v>8687950</c:v>
                </c:pt>
                <c:pt idx="6">
                  <c:v>6103415</c:v>
                </c:pt>
                <c:pt idx="7">
                  <c:v>58121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3.0"/>
          <c:min val="6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0606BA6-6639-4838-A711-E2B7FE57DE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4D294FA-2200-489E-A4CE-13B4C0D307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D65AE8A-4712-420F-BA6A-87C2B40F74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7E859CC-C579-459B-89AF-562B284E1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6323DD3-D9B8-4C74-B640-9BA7622F2D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53198D1-392F-492A-8AD8-18FFBDC5A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F57C8CB-7428-4B53-8B94-98B9D45099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42E5E38-1FA1-42B4-B476-068060972D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76.6296</c:v>
                </c:pt>
                <c:pt idx="1">
                  <c:v>228.4844</c:v>
                </c:pt>
                <c:pt idx="2">
                  <c:v>125.8423</c:v>
                </c:pt>
                <c:pt idx="3">
                  <c:v>220.0135</c:v>
                </c:pt>
                <c:pt idx="4">
                  <c:v>546.3703</c:v>
                </c:pt>
                <c:pt idx="5">
                  <c:v>488.5123</c:v>
                </c:pt>
              </c:numCache>
            </c:numRef>
          </c:xVal>
          <c:yVal>
            <c:numRef>
              <c:f>Sheet1!$B$2:$B$7</c:f>
              <c:numCache>
                <c:formatCode>General</c:formatCode>
                <c:ptCount val="6"/>
                <c:pt idx="0">
                  <c:v>0.843</c:v>
                </c:pt>
                <c:pt idx="1">
                  <c:v>0.954</c:v>
                </c:pt>
                <c:pt idx="2">
                  <c:v>0.825</c:v>
                </c:pt>
                <c:pt idx="3">
                  <c:v>3.102</c:v>
                </c:pt>
                <c:pt idx="4">
                  <c:v>5.073</c:v>
                </c:pt>
                <c:pt idx="5">
                  <c:v>2.99</c:v>
                </c:pt>
              </c:numCache>
            </c:numRef>
          </c:yVal>
          <c:bubbleSize>
            <c:numRef>
              <c:f>Sheet1!$C$2:$C$7</c:f>
              <c:numCache>
                <c:formatCode>General</c:formatCode>
                <c:ptCount val="6"/>
                <c:pt idx="0">
                  <c:v>19872067</c:v>
                </c:pt>
                <c:pt idx="1">
                  <c:v>19481266</c:v>
                </c:pt>
                <c:pt idx="2">
                  <c:v>5647804</c:v>
                </c:pt>
                <c:pt idx="3">
                  <c:v>1917198</c:v>
                </c:pt>
                <c:pt idx="4">
                  <c:v>979642</c:v>
                </c:pt>
                <c:pt idx="5">
                  <c:v>63506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56.0"/>
          <c:min val="10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18B505E-7258-45AA-9EB8-6153BCAB2A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FF65CF3-DC44-4404-9880-C98806DBA4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DDA5647-752F-4E84-B142-7A170436A3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4DCBF4D-3E87-4C0F-A718-DE23A4E3AD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3D4BE5E-D4CA-4FAA-B4D9-72655E556A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A2BA1C0-4FE1-413D-9683-33F9E17091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B777F0F-0584-4288-B4DC-9B07B5AF77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D4E5BDA-9585-4E74-929B-F57857DF35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1.1869</c:v>
                </c:pt>
                <c:pt idx="1">
                  <c:v>568.3691</c:v>
                </c:pt>
                <c:pt idx="2">
                  <c:v>567.9441</c:v>
                </c:pt>
                <c:pt idx="3">
                  <c:v>524.3506</c:v>
                </c:pt>
                <c:pt idx="4">
                  <c:v>126.7676</c:v>
                </c:pt>
                <c:pt idx="5">
                  <c:v>148.7473</c:v>
                </c:pt>
                <c:pt idx="6">
                  <c:v>484.1768</c:v>
                </c:pt>
                <c:pt idx="7">
                  <c:v>503.7749</c:v>
                </c:pt>
              </c:numCache>
            </c:numRef>
          </c:xVal>
          <c:yVal>
            <c:numRef>
              <c:f>Sheet1!$B$2:$B$9</c:f>
              <c:numCache>
                <c:formatCode>General</c:formatCode>
                <c:ptCount val="8"/>
                <c:pt idx="0">
                  <c:v>0.792</c:v>
                </c:pt>
                <c:pt idx="1">
                  <c:v>1.398</c:v>
                </c:pt>
                <c:pt idx="2">
                  <c:v>6.423</c:v>
                </c:pt>
                <c:pt idx="3">
                  <c:v>6.246</c:v>
                </c:pt>
                <c:pt idx="4">
                  <c:v>0.273</c:v>
                </c:pt>
                <c:pt idx="5">
                  <c:v>0.354</c:v>
                </c:pt>
                <c:pt idx="6">
                  <c:v>17.97</c:v>
                </c:pt>
                <c:pt idx="7">
                  <c:v>3.184</c:v>
                </c:pt>
              </c:numCache>
            </c:numRef>
          </c:yVal>
          <c:bubbleSize>
            <c:numRef>
              <c:f>Sheet1!$C$2:$C$9</c:f>
              <c:numCache>
                <c:formatCode>General</c:formatCode>
                <c:ptCount val="8"/>
                <c:pt idx="0">
                  <c:v>13823058</c:v>
                </c:pt>
                <c:pt idx="1">
                  <c:v>4669152</c:v>
                </c:pt>
                <c:pt idx="2">
                  <c:v>4132361</c:v>
                </c:pt>
                <c:pt idx="3">
                  <c:v>2020323</c:v>
                </c:pt>
                <c:pt idx="4">
                  <c:v>933136</c:v>
                </c:pt>
                <c:pt idx="5">
                  <c:v>672784</c:v>
                </c:pt>
                <c:pt idx="6">
                  <c:v>635240</c:v>
                </c:pt>
                <c:pt idx="7">
                  <c:v>39395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2.0"/>
          <c:min val="10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42822FF-5FFB-4DE8-A384-D361F584B9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3A7A315-9308-4E62-8784-3C8417F081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D8D6EBB-0E71-461E-9389-8C10818EC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D778AE2-3B38-4D86-95C8-3FE057C480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3919B77-7055-4DBA-BEB2-B23C866E38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F4493B2-F238-4848-8449-81B4A3325C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D07D511-28EA-4DFB-9A4E-D73A3633E6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FE08A20-53E8-4890-9E60-637BF48D5D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28.6275</c:v>
                </c:pt>
                <c:pt idx="1">
                  <c:v>549.8038</c:v>
                </c:pt>
                <c:pt idx="2">
                  <c:v>529.0403</c:v>
                </c:pt>
                <c:pt idx="3">
                  <c:v>233.2843</c:v>
                </c:pt>
                <c:pt idx="4">
                  <c:v>529.2376</c:v>
                </c:pt>
                <c:pt idx="5">
                  <c:v>362.6623</c:v>
                </c:pt>
                <c:pt idx="6">
                  <c:v>263.1961</c:v>
                </c:pt>
              </c:numCache>
            </c:numRef>
          </c:xVal>
          <c:yVal>
            <c:numRef>
              <c:f>Sheet1!$B$2:$B$8</c:f>
              <c:numCache>
                <c:formatCode>General</c:formatCode>
                <c:ptCount val="7"/>
                <c:pt idx="0">
                  <c:v>1.029</c:v>
                </c:pt>
                <c:pt idx="1">
                  <c:v>1.105</c:v>
                </c:pt>
                <c:pt idx="2">
                  <c:v>1.228</c:v>
                </c:pt>
                <c:pt idx="3">
                  <c:v>0.555</c:v>
                </c:pt>
                <c:pt idx="4">
                  <c:v>1.068</c:v>
                </c:pt>
                <c:pt idx="5">
                  <c:v>1.175</c:v>
                </c:pt>
                <c:pt idx="6">
                  <c:v>0.547</c:v>
                </c:pt>
              </c:numCache>
            </c:numRef>
          </c:yVal>
          <c:bubbleSize>
            <c:numRef>
              <c:f>Sheet1!$C$2:$C$8</c:f>
              <c:numCache>
                <c:formatCode>General</c:formatCode>
                <c:ptCount val="7"/>
                <c:pt idx="0">
                  <c:v>8379275</c:v>
                </c:pt>
                <c:pt idx="1">
                  <c:v>5299559</c:v>
                </c:pt>
                <c:pt idx="2">
                  <c:v>2663718</c:v>
                </c:pt>
                <c:pt idx="3">
                  <c:v>2100492</c:v>
                </c:pt>
                <c:pt idx="4">
                  <c:v>1220422</c:v>
                </c:pt>
                <c:pt idx="5">
                  <c:v>803297</c:v>
                </c:pt>
                <c:pt idx="6">
                  <c:v>8185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0.0"/>
          <c:min val="18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EA1045D-C09E-46F0-8573-B091E1F10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D089734-2CAB-4FB4-9799-72D0D2D3C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A5CFBE0-2312-43BF-85A2-4F089186E6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3014151-AA33-4BE3-9DCD-AB1FE02248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A5F1616-1171-4FC3-8375-97629905E6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B8684B3-254B-4D04-B6A1-AC1F63438B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09C0265-DDA0-436D-AC95-4CACEEFE2C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5574720-21A5-4953-90F9-2387F79BD7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1.3541</c:v>
                </c:pt>
                <c:pt idx="1">
                  <c:v>282.9385</c:v>
                </c:pt>
                <c:pt idx="2">
                  <c:v>240.3195</c:v>
                </c:pt>
                <c:pt idx="3">
                  <c:v>565.6129</c:v>
                </c:pt>
                <c:pt idx="4">
                  <c:v>670.1106</c:v>
                </c:pt>
                <c:pt idx="5">
                  <c:v>531.4</c:v>
                </c:pt>
              </c:numCache>
            </c:numRef>
          </c:xVal>
          <c:yVal>
            <c:numRef>
              <c:f>Sheet1!$B$2:$B$7</c:f>
              <c:numCache>
                <c:formatCode>General</c:formatCode>
                <c:ptCount val="6"/>
                <c:pt idx="0">
                  <c:v>0.811</c:v>
                </c:pt>
                <c:pt idx="1">
                  <c:v>1.013</c:v>
                </c:pt>
                <c:pt idx="2">
                  <c:v>0.899</c:v>
                </c:pt>
                <c:pt idx="3">
                  <c:v>4.134</c:v>
                </c:pt>
                <c:pt idx="4">
                  <c:v>2.572</c:v>
                </c:pt>
                <c:pt idx="5">
                  <c:v>2.082</c:v>
                </c:pt>
              </c:numCache>
            </c:numRef>
          </c:yVal>
          <c:bubbleSize>
            <c:numRef>
              <c:f>Sheet1!$C$2:$C$7</c:f>
              <c:numCache>
                <c:formatCode>General</c:formatCode>
                <c:ptCount val="6"/>
                <c:pt idx="0">
                  <c:v>4361752</c:v>
                </c:pt>
                <c:pt idx="1">
                  <c:v>4217482</c:v>
                </c:pt>
                <c:pt idx="2">
                  <c:v>3981133</c:v>
                </c:pt>
                <c:pt idx="3">
                  <c:v>914596</c:v>
                </c:pt>
                <c:pt idx="4">
                  <c:v>478459</c:v>
                </c:pt>
                <c:pt idx="5">
                  <c:v>28164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04.0"/>
          <c:min val="19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AA0E52E-81D8-4679-9870-516B6412E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2EF038E-E3F2-49DC-9253-39D6E1FD5F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F25D454-3030-4C93-83DA-E73D1C187A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AD02701-E4F5-49CF-BC73-586EE50490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20CB3C9-8D92-4D01-8C48-90E679BD56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0EAEA0E-A447-4BCE-BCA0-D4D8B5BECB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FCE9146-FADC-48BD-B960-DF599E7556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66D0133-BBE9-4BE4-917D-EE88AAFA2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3.9773</c:v>
                </c:pt>
                <c:pt idx="1">
                  <c:v>243.5957</c:v>
                </c:pt>
                <c:pt idx="2">
                  <c:v>280.8538</c:v>
                </c:pt>
                <c:pt idx="3">
                  <c:v>87.3988</c:v>
                </c:pt>
                <c:pt idx="4">
                  <c:v>229.4393</c:v>
                </c:pt>
                <c:pt idx="5">
                  <c:v>73.7171</c:v>
                </c:pt>
                <c:pt idx="6">
                  <c:v>609.8011</c:v>
                </c:pt>
                <c:pt idx="7">
                  <c:v>314.0153</c:v>
                </c:pt>
              </c:numCache>
            </c:numRef>
          </c:xVal>
          <c:yVal>
            <c:numRef>
              <c:f>Sheet1!$B$2:$B$9</c:f>
              <c:numCache>
                <c:formatCode>General</c:formatCode>
                <c:ptCount val="8"/>
                <c:pt idx="0">
                  <c:v>1.476</c:v>
                </c:pt>
                <c:pt idx="1">
                  <c:v>0.856</c:v>
                </c:pt>
                <c:pt idx="2">
                  <c:v>2.135</c:v>
                </c:pt>
                <c:pt idx="3">
                  <c:v>0.491</c:v>
                </c:pt>
                <c:pt idx="4">
                  <c:v>0.779</c:v>
                </c:pt>
                <c:pt idx="5">
                  <c:v>0.464</c:v>
                </c:pt>
                <c:pt idx="6">
                  <c:v>12.891</c:v>
                </c:pt>
                <c:pt idx="7">
                  <c:v>2.777</c:v>
                </c:pt>
              </c:numCache>
            </c:numRef>
          </c:yVal>
          <c:bubbleSize>
            <c:numRef>
              <c:f>Sheet1!$C$2:$C$9</c:f>
              <c:numCache>
                <c:formatCode>General</c:formatCode>
                <c:ptCount val="8"/>
                <c:pt idx="0">
                  <c:v>39156801</c:v>
                </c:pt>
                <c:pt idx="1">
                  <c:v>13549521</c:v>
                </c:pt>
                <c:pt idx="2">
                  <c:v>12857206</c:v>
                </c:pt>
                <c:pt idx="3">
                  <c:v>10152939</c:v>
                </c:pt>
                <c:pt idx="4">
                  <c:v>9754842</c:v>
                </c:pt>
                <c:pt idx="5">
                  <c:v>3202788</c:v>
                </c:pt>
                <c:pt idx="6">
                  <c:v>1489744</c:v>
                </c:pt>
                <c:pt idx="7">
                  <c:v>129499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2.0"/>
          <c:min val="5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4BC2E19-1898-4ACD-899B-CDBAC2C5B7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F9A7895-33B3-4037-A75A-59B009A6CA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3DE7D21-14D8-40E5-AE1D-6670F7A71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7EF5DA6-EAE0-4271-A90D-E969BD6B93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C5E5F06-CE04-428F-B354-7198BAC3CB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22019DE-EC7A-4B94-BE0B-A8A395F82B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BF55042-BFB0-4E65-B76A-21DF44B9BD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43CA269-6C72-4695-BD0C-F0D2D7007E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27.6257</c:v>
                </c:pt>
                <c:pt idx="1">
                  <c:v>198.3002</c:v>
                </c:pt>
                <c:pt idx="2">
                  <c:v>173.0787</c:v>
                </c:pt>
                <c:pt idx="3">
                  <c:v>156.0933</c:v>
                </c:pt>
                <c:pt idx="4">
                  <c:v>241.4935</c:v>
                </c:pt>
              </c:numCache>
            </c:numRef>
          </c:xVal>
          <c:yVal>
            <c:numRef>
              <c:f>Sheet1!$B$2:$B$6</c:f>
              <c:numCache>
                <c:formatCode>General</c:formatCode>
                <c:ptCount val="5"/>
                <c:pt idx="0">
                  <c:v>1.004</c:v>
                </c:pt>
                <c:pt idx="1">
                  <c:v>0.875</c:v>
                </c:pt>
                <c:pt idx="2">
                  <c:v>0.875</c:v>
                </c:pt>
                <c:pt idx="3">
                  <c:v>2.398</c:v>
                </c:pt>
                <c:pt idx="4">
                  <c:v>0.908</c:v>
                </c:pt>
              </c:numCache>
            </c:numRef>
          </c:yVal>
          <c:bubbleSize>
            <c:numRef>
              <c:f>Sheet1!$C$2:$C$6</c:f>
              <c:numCache>
                <c:formatCode>General</c:formatCode>
                <c:ptCount val="5"/>
                <c:pt idx="0">
                  <c:v>33943091</c:v>
                </c:pt>
                <c:pt idx="1">
                  <c:v>23165034</c:v>
                </c:pt>
                <c:pt idx="2">
                  <c:v>3444094</c:v>
                </c:pt>
                <c:pt idx="3">
                  <c:v>2234476</c:v>
                </c:pt>
                <c:pt idx="4">
                  <c:v>70129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0.0"/>
          <c:min val="1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BBE8821-BB76-4595-968A-A2F6AFD5E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4BCCB79-1E2C-41B5-B86A-C007DD7874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340EE60-4AA0-41B1-97EB-6A7929EAB2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AD47054-10C6-46C3-9B06-205902A70F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1D13310-A7E1-47BA-8237-974950152A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0AA14DA-4255-4718-8543-053E3312A7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C04A521-648D-41A1-8A05-412557C82F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EFFED69-FE79-4C22-933B-803D3A4563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7.0799</c:v>
                </c:pt>
                <c:pt idx="1">
                  <c:v>150.4076</c:v>
                </c:pt>
                <c:pt idx="2">
                  <c:v>131.8665</c:v>
                </c:pt>
                <c:pt idx="3">
                  <c:v>598.6777</c:v>
                </c:pt>
                <c:pt idx="4">
                  <c:v>519.697</c:v>
                </c:pt>
              </c:numCache>
            </c:numRef>
          </c:xVal>
          <c:yVal>
            <c:numRef>
              <c:f>Sheet1!$B$2:$B$6</c:f>
              <c:numCache>
                <c:formatCode>General</c:formatCode>
                <c:ptCount val="5"/>
                <c:pt idx="0">
                  <c:v>1.224</c:v>
                </c:pt>
                <c:pt idx="1">
                  <c:v>0.572</c:v>
                </c:pt>
                <c:pt idx="2">
                  <c:v>0.387</c:v>
                </c:pt>
                <c:pt idx="3">
                  <c:v>2.25</c:v>
                </c:pt>
                <c:pt idx="4">
                  <c:v>9.469</c:v>
                </c:pt>
              </c:numCache>
            </c:numRef>
          </c:yVal>
          <c:bubbleSize>
            <c:numRef>
              <c:f>Sheet1!$C$2:$C$6</c:f>
              <c:numCache>
                <c:formatCode>General</c:formatCode>
                <c:ptCount val="5"/>
                <c:pt idx="0">
                  <c:v>20540249</c:v>
                </c:pt>
                <c:pt idx="1">
                  <c:v>2871732</c:v>
                </c:pt>
                <c:pt idx="2">
                  <c:v>1293742</c:v>
                </c:pt>
                <c:pt idx="3">
                  <c:v>705841</c:v>
                </c:pt>
                <c:pt idx="4">
                  <c:v>57114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8.0"/>
          <c:min val="10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F84C2F4-BBA6-49BE-B915-8DE4CCF913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B9D07AA-C6E9-4648-9AB6-98FAE29564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555D1B3-13DC-45D6-A429-687B5AE21A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63DAA51-24CC-42BF-90A5-2E0B4196B5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2A0B0EC-C94F-4031-A82E-7317E0DCCB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F8524B9-14FE-4EA0-931A-C955888EA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7D4E982-D180-40F0-B7E6-B90EC7F6E9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DA662C0-1F58-4E3F-94F1-BCCAA86486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9.7146</c:v>
                </c:pt>
                <c:pt idx="1">
                  <c:v>617.1397</c:v>
                </c:pt>
                <c:pt idx="2">
                  <c:v>464.4211</c:v>
                </c:pt>
                <c:pt idx="3">
                  <c:v>530.0423</c:v>
                </c:pt>
                <c:pt idx="4">
                  <c:v>298.6997</c:v>
                </c:pt>
                <c:pt idx="5">
                  <c:v>261.8225</c:v>
                </c:pt>
                <c:pt idx="6">
                  <c:v>609.027</c:v>
                </c:pt>
              </c:numCache>
            </c:numRef>
          </c:xVal>
          <c:yVal>
            <c:numRef>
              <c:f>Sheet1!$B$2:$B$8</c:f>
              <c:numCache>
                <c:formatCode>General</c:formatCode>
                <c:ptCount val="7"/>
                <c:pt idx="0">
                  <c:v>0.69</c:v>
                </c:pt>
                <c:pt idx="1">
                  <c:v>12.285</c:v>
                </c:pt>
                <c:pt idx="2">
                  <c:v>1.426</c:v>
                </c:pt>
                <c:pt idx="3">
                  <c:v>3.656</c:v>
                </c:pt>
                <c:pt idx="4">
                  <c:v>1.449</c:v>
                </c:pt>
                <c:pt idx="5">
                  <c:v>0.604</c:v>
                </c:pt>
                <c:pt idx="6">
                  <c:v>0.0</c:v>
                </c:pt>
              </c:numCache>
            </c:numRef>
          </c:yVal>
          <c:bubbleSize>
            <c:numRef>
              <c:f>Sheet1!$C$2:$C$8</c:f>
              <c:numCache>
                <c:formatCode>General</c:formatCode>
                <c:ptCount val="7"/>
                <c:pt idx="0">
                  <c:v>1756992</c:v>
                </c:pt>
                <c:pt idx="1">
                  <c:v>560980</c:v>
                </c:pt>
                <c:pt idx="2">
                  <c:v>273544</c:v>
                </c:pt>
                <c:pt idx="3">
                  <c:v>200356</c:v>
                </c:pt>
                <c:pt idx="4">
                  <c:v>172051</c:v>
                </c:pt>
                <c:pt idx="5">
                  <c:v>104729</c:v>
                </c:pt>
                <c:pt idx="6">
                  <c:v>6760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41.0"/>
          <c:min val="20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F6A1578-836D-4815-BFDC-063E8C2C3F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3723A40-7E0E-431E-B031-433D1D5643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1A4DA4D-DA97-452A-AE9C-A956DFDD5B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53FAB3D-AC40-4358-B67F-295E82FDE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6C644ED-C053-488A-9E8D-58DD8DBFA6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593FE9A-F774-4D1F-8E43-560C313607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8B4C495-4AFC-4F71-8C70-E26BDC86AE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953FE0B-AE1C-4785-A948-C95E692050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84.5275</c:v>
                </c:pt>
                <c:pt idx="1">
                  <c:v>263.9777</c:v>
                </c:pt>
                <c:pt idx="2">
                  <c:v>257.2737</c:v>
                </c:pt>
              </c:numCache>
            </c:numRef>
          </c:xVal>
          <c:yVal>
            <c:numRef>
              <c:f>Sheet1!$B$2:$B$4</c:f>
              <c:numCache>
                <c:formatCode>General</c:formatCode>
                <c:ptCount val="3"/>
                <c:pt idx="0">
                  <c:v>1.044</c:v>
                </c:pt>
                <c:pt idx="1">
                  <c:v>1.002</c:v>
                </c:pt>
                <c:pt idx="2">
                  <c:v>0.918</c:v>
                </c:pt>
              </c:numCache>
            </c:numRef>
          </c:yVal>
          <c:bubbleSize>
            <c:numRef>
              <c:f>Sheet1!$C$2:$C$4</c:f>
              <c:numCache>
                <c:formatCode>General</c:formatCode>
                <c:ptCount val="3"/>
                <c:pt idx="0">
                  <c:v>12646396</c:v>
                </c:pt>
                <c:pt idx="1">
                  <c:v>9949583</c:v>
                </c:pt>
                <c:pt idx="2">
                  <c:v>785688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1.0"/>
          <c:min val="20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50009B93-D198-4754-BA11-F64B715CAB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5213A897-E9E6-4B39-A301-935DB580D3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E229EC36-26CF-48EA-8611-5A71B2248E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AEDD0B2F-61DC-4702-98B3-2E15A4E215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4770BD16-FA50-4E3D-AC1A-2ABF914C7C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629F6A77-64B2-4D50-836D-B6A60B347C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29C25AA8-B742-4521-B37B-AA8C7F07A3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D2A6BD98-8180-4430-8ADF-83483A91BD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55.5805</c:v>
                </c:pt>
                <c:pt idx="1">
                  <c:v>634.8955</c:v>
                </c:pt>
                <c:pt idx="2">
                  <c:v>638.5758</c:v>
                </c:pt>
                <c:pt idx="3">
                  <c:v>39.8793</c:v>
                </c:pt>
                <c:pt idx="4">
                  <c:v>585.0</c:v>
                </c:pt>
              </c:numCache>
            </c:numRef>
          </c:xVal>
          <c:yVal>
            <c:numRef>
              <c:f>Sheet1!$B$2:$B$6</c:f>
              <c:numCache>
                <c:formatCode>General</c:formatCode>
                <c:ptCount val="5"/>
                <c:pt idx="0">
                  <c:v>3.461</c:v>
                </c:pt>
                <c:pt idx="1">
                  <c:v>3.881</c:v>
                </c:pt>
                <c:pt idx="2">
                  <c:v>0.0</c:v>
                </c:pt>
                <c:pt idx="3">
                  <c:v>0.123</c:v>
                </c:pt>
                <c:pt idx="4">
                  <c:v>0.0</c:v>
                </c:pt>
              </c:numCache>
            </c:numRef>
          </c:yVal>
          <c:bubbleSize>
            <c:numRef>
              <c:f>Sheet1!$C$2:$C$6</c:f>
              <c:numCache>
                <c:formatCode>General</c:formatCode>
                <c:ptCount val="5"/>
                <c:pt idx="0">
                  <c:v>97549</c:v>
                </c:pt>
                <c:pt idx="1">
                  <c:v>85076</c:v>
                </c:pt>
                <c:pt idx="2">
                  <c:v>21073</c:v>
                </c:pt>
                <c:pt idx="3">
                  <c:v>11565</c:v>
                </c:pt>
                <c:pt idx="4">
                  <c:v>70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66.0"/>
          <c:min val="32.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C733697-CF02-4594-B208-B953F7103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00C7EA0-0930-4250-A250-52DF6D1C78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70D97A7-1964-414F-A9FE-F9EA9DCC07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843A0C3-1E52-4347-8CB4-9B0DCC8603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5AD68F6-D561-4009-9BE5-055D5F4690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1DE9049-F4CD-4D87-AB2E-4A6FACA6E5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87FC2BA-2A8F-41AC-AB12-0DC4C0408F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26DBEAC-31CF-4EF6-894C-801EAF4884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7.4459</c:v>
                </c:pt>
                <c:pt idx="1">
                  <c:v>289.0043</c:v>
                </c:pt>
                <c:pt idx="2">
                  <c:v>234.1463</c:v>
                </c:pt>
                <c:pt idx="3">
                  <c:v>84.9795</c:v>
                </c:pt>
                <c:pt idx="4">
                  <c:v>240.1393</c:v>
                </c:pt>
                <c:pt idx="5">
                  <c:v>601.1332</c:v>
                </c:pt>
                <c:pt idx="6">
                  <c:v>74.4418</c:v>
                </c:pt>
                <c:pt idx="7">
                  <c:v>628.8737</c:v>
                </c:pt>
              </c:numCache>
            </c:numRef>
          </c:xVal>
          <c:yVal>
            <c:numRef>
              <c:f>Sheet1!$B$2:$B$9</c:f>
              <c:numCache>
                <c:formatCode>General</c:formatCode>
                <c:ptCount val="8"/>
                <c:pt idx="0">
                  <c:v>1.405</c:v>
                </c:pt>
                <c:pt idx="1">
                  <c:v>2.035</c:v>
                </c:pt>
                <c:pt idx="2">
                  <c:v>0.749</c:v>
                </c:pt>
                <c:pt idx="3">
                  <c:v>0.452</c:v>
                </c:pt>
                <c:pt idx="4">
                  <c:v>0.69</c:v>
                </c:pt>
                <c:pt idx="5">
                  <c:v>8.591</c:v>
                </c:pt>
                <c:pt idx="6">
                  <c:v>0.405</c:v>
                </c:pt>
                <c:pt idx="7">
                  <c:v>5.034</c:v>
                </c:pt>
              </c:numCache>
            </c:numRef>
          </c:yVal>
          <c:bubbleSize>
            <c:numRef>
              <c:f>Sheet1!$C$2:$C$9</c:f>
              <c:numCache>
                <c:formatCode>General</c:formatCode>
                <c:ptCount val="8"/>
                <c:pt idx="0">
                  <c:v>36316877</c:v>
                </c:pt>
                <c:pt idx="1">
                  <c:v>15832523</c:v>
                </c:pt>
                <c:pt idx="2">
                  <c:v>13015722</c:v>
                </c:pt>
                <c:pt idx="3">
                  <c:v>12461813</c:v>
                </c:pt>
                <c:pt idx="4">
                  <c:v>11205618</c:v>
                </c:pt>
                <c:pt idx="5">
                  <c:v>7913318</c:v>
                </c:pt>
                <c:pt idx="6">
                  <c:v>4963182</c:v>
                </c:pt>
                <c:pt idx="7">
                  <c:v>30318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55.0"/>
          <c:min val="6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2FF769-518E-4B0E-B3A5-55543CAA3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FA892EA-12A6-4F0C-AC2E-4E3E628E9D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E3166FB-8D1F-4CAC-8894-12DF776213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96E32A9-0C0B-4BFE-A035-B0F107A956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3E68333-0C7D-49F1-9E29-6CB6BBC3AA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B626FD9-A089-44AE-A77C-FA0E78C83E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774D98B-FB96-4886-834B-F7A2105797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50930E3-3478-4C9D-A31D-90B8668DF2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25.6895</c:v>
                </c:pt>
                <c:pt idx="1">
                  <c:v>191.9097</c:v>
                </c:pt>
                <c:pt idx="2">
                  <c:v>162.4524</c:v>
                </c:pt>
                <c:pt idx="3">
                  <c:v>214.8602</c:v>
                </c:pt>
              </c:numCache>
            </c:numRef>
          </c:xVal>
          <c:yVal>
            <c:numRef>
              <c:f>Sheet1!$B$2:$B$5</c:f>
              <c:numCache>
                <c:formatCode>General</c:formatCode>
                <c:ptCount val="4"/>
                <c:pt idx="0">
                  <c:v>0.975</c:v>
                </c:pt>
                <c:pt idx="1">
                  <c:v>0.875</c:v>
                </c:pt>
                <c:pt idx="2">
                  <c:v>0.807</c:v>
                </c:pt>
                <c:pt idx="3">
                  <c:v>3.12</c:v>
                </c:pt>
              </c:numCache>
            </c:numRef>
          </c:yVal>
          <c:bubbleSize>
            <c:numRef>
              <c:f>Sheet1!$C$2:$C$5</c:f>
              <c:numCache>
                <c:formatCode>General</c:formatCode>
                <c:ptCount val="4"/>
                <c:pt idx="0">
                  <c:v>28072614</c:v>
                </c:pt>
                <c:pt idx="1">
                  <c:v>21682914</c:v>
                </c:pt>
                <c:pt idx="2">
                  <c:v>4595292</c:v>
                </c:pt>
                <c:pt idx="3">
                  <c:v>184564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1.0"/>
          <c:min val="13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A567420-51FB-4B0E-A02D-478326753B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4B04D8F-D7B2-4F0D-AD1D-E7818BE3B7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612A5DD-7F48-47C9-AD11-ACDA6BAC93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52581E4-5E10-4D7C-BE87-0559B1E2EB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A28D9EF-32C0-4B64-A5C4-472531ADAA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06D140F-A40C-4509-BC39-141D95410C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F3524F2-7EF3-4CC5-86F7-368F3F729A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246E97E-0562-4134-98A0-7BDCCE3EDF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58.6869</c:v>
                </c:pt>
                <c:pt idx="1">
                  <c:v>601.0742</c:v>
                </c:pt>
                <c:pt idx="2">
                  <c:v>551.8813</c:v>
                </c:pt>
                <c:pt idx="3">
                  <c:v>168.5996</c:v>
                </c:pt>
                <c:pt idx="4">
                  <c:v>134.0757</c:v>
                </c:pt>
                <c:pt idx="5">
                  <c:v>561.1701</c:v>
                </c:pt>
                <c:pt idx="6">
                  <c:v>636.5479</c:v>
                </c:pt>
              </c:numCache>
            </c:numRef>
          </c:xVal>
          <c:yVal>
            <c:numRef>
              <c:f>Sheet1!$B$2:$B$8</c:f>
              <c:numCache>
                <c:formatCode>General</c:formatCode>
                <c:ptCount val="7"/>
                <c:pt idx="0">
                  <c:v>0.99</c:v>
                </c:pt>
                <c:pt idx="1">
                  <c:v>1.745</c:v>
                </c:pt>
                <c:pt idx="2">
                  <c:v>8.173</c:v>
                </c:pt>
                <c:pt idx="3">
                  <c:v>0.501</c:v>
                </c:pt>
                <c:pt idx="4">
                  <c:v>0.307</c:v>
                </c:pt>
                <c:pt idx="5">
                  <c:v>8.331</c:v>
                </c:pt>
                <c:pt idx="6">
                  <c:v>0.0</c:v>
                </c:pt>
              </c:numCache>
            </c:numRef>
          </c:yVal>
          <c:bubbleSize>
            <c:numRef>
              <c:f>Sheet1!$C$2:$C$8</c:f>
              <c:numCache>
                <c:formatCode>General</c:formatCode>
                <c:ptCount val="7"/>
                <c:pt idx="0">
                  <c:v>16062904</c:v>
                </c:pt>
                <c:pt idx="1">
                  <c:v>3238588</c:v>
                </c:pt>
                <c:pt idx="2">
                  <c:v>1854873</c:v>
                </c:pt>
                <c:pt idx="3">
                  <c:v>1242916</c:v>
                </c:pt>
                <c:pt idx="4">
                  <c:v>1106527</c:v>
                </c:pt>
                <c:pt idx="5">
                  <c:v>798545</c:v>
                </c:pt>
                <c:pt idx="6">
                  <c:v>27880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64.0"/>
          <c:min val="10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B51DA91-A4E5-4B7C-9F8B-01FA2E656E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3B3F8C8-5A4A-4F96-83B7-78E4A7AD72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DC9B125-0982-400E-B5C9-EEAFC98B64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0348A6B-4265-478E-9035-36728BC063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BD38B04-CD12-4FE9-B47D-BCC4AB9A27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F65DF5F-51BE-48DC-BDB5-0CE493E19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8404350-1B15-407C-9996-B742A954BA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EBF0E91-CF3E-489C-9522-52E5D8998C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71.565</c:v>
                </c:pt>
                <c:pt idx="1">
                  <c:v>596.1074</c:v>
                </c:pt>
                <c:pt idx="2">
                  <c:v>245.0052</c:v>
                </c:pt>
                <c:pt idx="3">
                  <c:v>538.8012</c:v>
                </c:pt>
                <c:pt idx="4">
                  <c:v>535.9268</c:v>
                </c:pt>
                <c:pt idx="5">
                  <c:v>453.0601</c:v>
                </c:pt>
                <c:pt idx="6">
                  <c:v>273.3755</c:v>
                </c:pt>
              </c:numCache>
            </c:numRef>
          </c:xVal>
          <c:yVal>
            <c:numRef>
              <c:f>Sheet1!$B$2:$B$8</c:f>
              <c:numCache>
                <c:formatCode>General</c:formatCode>
                <c:ptCount val="7"/>
                <c:pt idx="0">
                  <c:v>1.087</c:v>
                </c:pt>
                <c:pt idx="1">
                  <c:v>1.258</c:v>
                </c:pt>
                <c:pt idx="2">
                  <c:v>0.54</c:v>
                </c:pt>
                <c:pt idx="3">
                  <c:v>0.956</c:v>
                </c:pt>
                <c:pt idx="4">
                  <c:v>11.086</c:v>
                </c:pt>
                <c:pt idx="5">
                  <c:v>2.271</c:v>
                </c:pt>
                <c:pt idx="6">
                  <c:v>0.433</c:v>
                </c:pt>
              </c:numCache>
            </c:numRef>
          </c:yVal>
          <c:bubbleSize>
            <c:numRef>
              <c:f>Sheet1!$C$2:$C$8</c:f>
              <c:numCache>
                <c:formatCode>General</c:formatCode>
                <c:ptCount val="7"/>
                <c:pt idx="0">
                  <c:v>2593762</c:v>
                </c:pt>
                <c:pt idx="1">
                  <c:v>2529880</c:v>
                </c:pt>
                <c:pt idx="2">
                  <c:v>1803483</c:v>
                </c:pt>
                <c:pt idx="3">
                  <c:v>842685</c:v>
                </c:pt>
                <c:pt idx="4">
                  <c:v>651687</c:v>
                </c:pt>
                <c:pt idx="5">
                  <c:v>347044</c:v>
                </c:pt>
                <c:pt idx="6">
                  <c:v>7135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5.0"/>
          <c:min val="19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BF82939-F032-45B0-A1C7-CD98B6498A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E607327-77F8-4584-B125-E1CB09FE92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F23E75E-82E8-4AD3-A2CD-31BA9E5F0C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8BC98E9-1541-4D83-AE10-5360C7F033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BE2B175-B72E-4787-A275-60DF3F6398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52FF49E-2E9E-4177-BD4B-12AF63535E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F49D503-2D6D-4665-900A-1E25404869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99BEBD2-DB34-44FA-A757-698A0E2847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75.307</c:v>
                </c:pt>
                <c:pt idx="1">
                  <c:v>265.5057</c:v>
                </c:pt>
                <c:pt idx="2">
                  <c:v>267.6996</c:v>
                </c:pt>
                <c:pt idx="3">
                  <c:v>577.608</c:v>
                </c:pt>
                <c:pt idx="4">
                  <c:v>718.4592</c:v>
                </c:pt>
              </c:numCache>
            </c:numRef>
          </c:xVal>
          <c:yVal>
            <c:numRef>
              <c:f>Sheet1!$B$2:$B$6</c:f>
              <c:numCache>
                <c:formatCode>General</c:formatCode>
                <c:ptCount val="5"/>
                <c:pt idx="0">
                  <c:v>1.002</c:v>
                </c:pt>
                <c:pt idx="1">
                  <c:v>1.012</c:v>
                </c:pt>
                <c:pt idx="2">
                  <c:v>0.855</c:v>
                </c:pt>
                <c:pt idx="3">
                  <c:v>4.368</c:v>
                </c:pt>
                <c:pt idx="4">
                  <c:v>2.785</c:v>
                </c:pt>
              </c:numCache>
            </c:numRef>
          </c:yVal>
          <c:bubbleSize>
            <c:numRef>
              <c:f>Sheet1!$C$2:$C$6</c:f>
              <c:numCache>
                <c:formatCode>General</c:formatCode>
                <c:ptCount val="5"/>
                <c:pt idx="0">
                  <c:v>6722997</c:v>
                </c:pt>
                <c:pt idx="1">
                  <c:v>4464213</c:v>
                </c:pt>
                <c:pt idx="2">
                  <c:v>4400179</c:v>
                </c:pt>
                <c:pt idx="3">
                  <c:v>620351</c:v>
                </c:pt>
                <c:pt idx="4">
                  <c:v>21122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62.0"/>
          <c:min val="21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2B4A9E4-48BC-4666-9EE9-FA54CD615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803FCEF-AFC6-4FAF-9E41-383E88CCF9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BD84FA8-E38A-4A88-9707-4EEC184D19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5582E9B-150D-4AAA-8942-A887B466AF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8B466E9-DFAC-47BC-AD30-DE5AC88CC0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9AE7D64-5F34-4D5C-AFEA-DEDD8ECD0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6A4748D-D78D-451F-94A8-68B3459876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3CA49FC-81A8-4FC5-82E1-14515DFC1F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0.1884</c:v>
                </c:pt>
                <c:pt idx="1">
                  <c:v>296.7036</c:v>
                </c:pt>
                <c:pt idx="2">
                  <c:v>243.2207</c:v>
                </c:pt>
                <c:pt idx="3">
                  <c:v>246.9895</c:v>
                </c:pt>
                <c:pt idx="4">
                  <c:v>85.8776</c:v>
                </c:pt>
                <c:pt idx="5">
                  <c:v>592.2873</c:v>
                </c:pt>
                <c:pt idx="6">
                  <c:v>74.8204</c:v>
                </c:pt>
                <c:pt idx="7">
                  <c:v>522.1482</c:v>
                </c:pt>
              </c:numCache>
            </c:numRef>
          </c:xVal>
          <c:yVal>
            <c:numRef>
              <c:f>Sheet1!$B$2:$B$9</c:f>
              <c:numCache>
                <c:formatCode>General</c:formatCode>
                <c:ptCount val="8"/>
                <c:pt idx="0">
                  <c:v>1.42</c:v>
                </c:pt>
                <c:pt idx="1">
                  <c:v>2.217</c:v>
                </c:pt>
                <c:pt idx="2">
                  <c:v>0.769</c:v>
                </c:pt>
                <c:pt idx="3">
                  <c:v>0.705</c:v>
                </c:pt>
                <c:pt idx="4">
                  <c:v>0.428</c:v>
                </c:pt>
                <c:pt idx="5">
                  <c:v>8.622</c:v>
                </c:pt>
                <c:pt idx="6">
                  <c:v>0.407</c:v>
                </c:pt>
                <c:pt idx="7">
                  <c:v>5.418</c:v>
                </c:pt>
              </c:numCache>
            </c:numRef>
          </c:yVal>
          <c:bubbleSize>
            <c:numRef>
              <c:f>Sheet1!$C$2:$C$9</c:f>
              <c:numCache>
                <c:formatCode>General</c:formatCode>
                <c:ptCount val="8"/>
                <c:pt idx="0">
                  <c:v>29673359</c:v>
                </c:pt>
                <c:pt idx="1">
                  <c:v>15085897</c:v>
                </c:pt>
                <c:pt idx="2">
                  <c:v>13521853</c:v>
                </c:pt>
                <c:pt idx="3">
                  <c:v>13036602</c:v>
                </c:pt>
                <c:pt idx="4">
                  <c:v>11365128</c:v>
                </c:pt>
                <c:pt idx="5">
                  <c:v>7846030</c:v>
                </c:pt>
                <c:pt idx="6">
                  <c:v>4294539</c:v>
                </c:pt>
                <c:pt idx="7">
                  <c:v>232825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1.0"/>
          <c:min val="6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4927B72-E7D0-4A30-9376-0263E12CC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97892BD-E84B-4E55-99B0-0C3EC400E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79A1C9D-D725-49BA-A78A-C774D086CF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0973473-DC1B-4E8E-8047-BA0EEFE123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621628-4043-4D13-BF26-833F0C1A8C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4C068CF-4082-402C-9BE3-2919100E09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182E827-224E-440D-AD44-5746F940D2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272F23C-33E6-4986-990F-ED97A2C2ED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89.3015</c:v>
                </c:pt>
                <c:pt idx="1">
                  <c:v>228.2414</c:v>
                </c:pt>
                <c:pt idx="2">
                  <c:v>164.3133</c:v>
                </c:pt>
                <c:pt idx="3">
                  <c:v>221.1781</c:v>
                </c:pt>
              </c:numCache>
            </c:numRef>
          </c:xVal>
          <c:yVal>
            <c:numRef>
              <c:f>Sheet1!$B$2:$B$5</c:f>
              <c:numCache>
                <c:formatCode>General</c:formatCode>
                <c:ptCount val="4"/>
                <c:pt idx="0">
                  <c:v>0.887</c:v>
                </c:pt>
                <c:pt idx="1">
                  <c:v>0.977</c:v>
                </c:pt>
                <c:pt idx="2">
                  <c:v>0.812</c:v>
                </c:pt>
                <c:pt idx="3">
                  <c:v>3.143</c:v>
                </c:pt>
              </c:numCache>
            </c:numRef>
          </c:yVal>
          <c:bubbleSize>
            <c:numRef>
              <c:f>Sheet1!$C$2:$C$5</c:f>
              <c:numCache>
                <c:formatCode>General</c:formatCode>
                <c:ptCount val="4"/>
                <c:pt idx="0">
                  <c:v>22659005</c:v>
                </c:pt>
                <c:pt idx="1">
                  <c:v>21970290</c:v>
                </c:pt>
                <c:pt idx="2">
                  <c:v>4759827</c:v>
                </c:pt>
                <c:pt idx="3">
                  <c:v>195145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4.0"/>
          <c:min val="13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3D1EA38-C8AA-40A7-A0DE-7D1DE774D0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60521F5-E7F0-4057-B496-F0458E1A5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D4F81A-90A9-4F2A-AF90-72221ACAB1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037C1C0-E5EF-4508-845E-2DDA3725B6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997A2A0-3527-46D1-9895-4D1AE9231D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BC3FEC2-2944-471D-9385-4F5EA19897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7EA63AB-4BB2-4CAE-B473-CE32B900EB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A29305A-76EA-4266-8072-BC0E14CA14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64.5923</c:v>
                </c:pt>
                <c:pt idx="1">
                  <c:v>602.2839</c:v>
                </c:pt>
                <c:pt idx="2">
                  <c:v>168.8724</c:v>
                </c:pt>
                <c:pt idx="3">
                  <c:v>555.812</c:v>
                </c:pt>
                <c:pt idx="4">
                  <c:v>135.2869</c:v>
                </c:pt>
                <c:pt idx="5">
                  <c:v>550.4529</c:v>
                </c:pt>
                <c:pt idx="6">
                  <c:v>610.6858</c:v>
                </c:pt>
              </c:numCache>
            </c:numRef>
          </c:xVal>
          <c:yVal>
            <c:numRef>
              <c:f>Sheet1!$B$2:$B$8</c:f>
              <c:numCache>
                <c:formatCode>General</c:formatCode>
                <c:ptCount val="7"/>
                <c:pt idx="0">
                  <c:v>1.059</c:v>
                </c:pt>
                <c:pt idx="1">
                  <c:v>1.837</c:v>
                </c:pt>
                <c:pt idx="2">
                  <c:v>0.519</c:v>
                </c:pt>
                <c:pt idx="3">
                  <c:v>8.612</c:v>
                </c:pt>
                <c:pt idx="4">
                  <c:v>0.33</c:v>
                </c:pt>
                <c:pt idx="5">
                  <c:v>7.9</c:v>
                </c:pt>
                <c:pt idx="6">
                  <c:v>121.45</c:v>
                </c:pt>
              </c:numCache>
            </c:numRef>
          </c:yVal>
          <c:bubbleSize>
            <c:numRef>
              <c:f>Sheet1!$C$2:$C$8</c:f>
              <c:numCache>
                <c:formatCode>General</c:formatCode>
                <c:ptCount val="7"/>
                <c:pt idx="0">
                  <c:v>11510823</c:v>
                </c:pt>
                <c:pt idx="1">
                  <c:v>3118024</c:v>
                </c:pt>
                <c:pt idx="2">
                  <c:v>1565109</c:v>
                </c:pt>
                <c:pt idx="3">
                  <c:v>1546269</c:v>
                </c:pt>
                <c:pt idx="4">
                  <c:v>1453252</c:v>
                </c:pt>
                <c:pt idx="5">
                  <c:v>805863</c:v>
                </c:pt>
                <c:pt idx="6">
                  <c:v>33038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3.0"/>
          <c:min val="10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B4AA02-ACE6-4443-B251-C695F5DDD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C0529E6-9611-4F78-88C1-BAB35D59A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A1A4667-C101-4B11-8D5B-2D223459FA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7232643-F40D-4363-A0E6-3142BD1574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1B19EEE-C9CB-4190-A456-68B98A5E1F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5BCBB8E-4187-4928-9878-0383D2299E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BB93B32-F2C1-4DAA-B4AD-E22C2023B1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07CAB7D-3B8D-4327-8D93-27B88550A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64.3727</c:v>
                </c:pt>
                <c:pt idx="1">
                  <c:v>591.359</c:v>
                </c:pt>
                <c:pt idx="2">
                  <c:v>243.0667</c:v>
                </c:pt>
                <c:pt idx="3">
                  <c:v>539.0345</c:v>
                </c:pt>
                <c:pt idx="4">
                  <c:v>524.2725</c:v>
                </c:pt>
                <c:pt idx="5">
                  <c:v>376.239</c:v>
                </c:pt>
                <c:pt idx="6">
                  <c:v>276.9446</c:v>
                </c:pt>
              </c:numCache>
            </c:numRef>
          </c:xVal>
          <c:yVal>
            <c:numRef>
              <c:f>Sheet1!$B$2:$B$8</c:f>
              <c:numCache>
                <c:formatCode>General</c:formatCode>
                <c:ptCount val="7"/>
                <c:pt idx="0">
                  <c:v>1.067</c:v>
                </c:pt>
                <c:pt idx="1">
                  <c:v>1.305</c:v>
                </c:pt>
                <c:pt idx="2">
                  <c:v>0.526</c:v>
                </c:pt>
                <c:pt idx="3">
                  <c:v>5.037</c:v>
                </c:pt>
                <c:pt idx="4">
                  <c:v>0.886</c:v>
                </c:pt>
                <c:pt idx="5">
                  <c:v>1.408</c:v>
                </c:pt>
                <c:pt idx="6">
                  <c:v>0.541</c:v>
                </c:pt>
              </c:numCache>
            </c:numRef>
          </c:yVal>
          <c:bubbleSize>
            <c:numRef>
              <c:f>Sheet1!$C$2:$C$8</c:f>
              <c:numCache>
                <c:formatCode>General</c:formatCode>
                <c:ptCount val="7"/>
                <c:pt idx="0">
                  <c:v>2382217</c:v>
                </c:pt>
                <c:pt idx="1">
                  <c:v>2325815</c:v>
                </c:pt>
                <c:pt idx="2">
                  <c:v>1511389</c:v>
                </c:pt>
                <c:pt idx="3">
                  <c:v>717994</c:v>
                </c:pt>
                <c:pt idx="4">
                  <c:v>694661</c:v>
                </c:pt>
                <c:pt idx="5">
                  <c:v>401447</c:v>
                </c:pt>
                <c:pt idx="6">
                  <c:v>9000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0.0"/>
          <c:min val="19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E697B86-4D0C-4A7D-B019-11D12A8746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405B205-DCF3-4E84-8C4B-7961A96C7E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6DA866C-2808-4929-9354-7EAA555227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73BC7B6-9316-4009-9FFD-446C868A8A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3DC7C61-E8A0-46B6-B043-FFABC4354C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A754ACC-9562-443C-97A1-379250FA38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FBCC93A-D421-4A50-9AC6-7C8E1A6611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A886593-CE7E-4CA5-848A-6F086BE8BD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84.3699</c:v>
                </c:pt>
                <c:pt idx="1">
                  <c:v>280.7058</c:v>
                </c:pt>
                <c:pt idx="2">
                  <c:v>286.3473</c:v>
                </c:pt>
                <c:pt idx="3">
                  <c:v>581.4377</c:v>
                </c:pt>
                <c:pt idx="4">
                  <c:v>712.2493</c:v>
                </c:pt>
              </c:numCache>
            </c:numRef>
          </c:xVal>
          <c:yVal>
            <c:numRef>
              <c:f>Sheet1!$B$2:$B$6</c:f>
              <c:numCache>
                <c:formatCode>General</c:formatCode>
                <c:ptCount val="5"/>
                <c:pt idx="0">
                  <c:v>1.01</c:v>
                </c:pt>
                <c:pt idx="1">
                  <c:v>0.956</c:v>
                </c:pt>
                <c:pt idx="2">
                  <c:v>0.984</c:v>
                </c:pt>
                <c:pt idx="3">
                  <c:v>4.025</c:v>
                </c:pt>
                <c:pt idx="4">
                  <c:v>2.671</c:v>
                </c:pt>
              </c:numCache>
            </c:numRef>
          </c:yVal>
          <c:bubbleSize>
            <c:numRef>
              <c:f>Sheet1!$C$2:$C$6</c:f>
              <c:numCache>
                <c:formatCode>General</c:formatCode>
                <c:ptCount val="5"/>
                <c:pt idx="0">
                  <c:v>7929085</c:v>
                </c:pt>
                <c:pt idx="1">
                  <c:v>7598986</c:v>
                </c:pt>
                <c:pt idx="2">
                  <c:v>7242010</c:v>
                </c:pt>
                <c:pt idx="3">
                  <c:v>429101</c:v>
                </c:pt>
                <c:pt idx="4">
                  <c:v>24572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5.0"/>
          <c:min val="2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77C970D8-ADAB-47CF-AEED-278B5EC7C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CAC67FEE-B6B2-407F-8BFB-2216AAB808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3A4ABE16-CF29-4817-A0B8-5ED8F92738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3E1508BB-AF3E-4F01-81EA-B58A6E517A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5582F4AB-38D1-4FCB-8EBE-19C1448AAF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F852E5B9-F895-4420-A403-CC0C0DDCAD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BD67A793-3143-4737-B742-DDC4EBC38E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941615B4-5E6E-4B72-A293-576217382E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70.0005</c:v>
                </c:pt>
                <c:pt idx="1">
                  <c:v>242.6779</c:v>
                </c:pt>
                <c:pt idx="2">
                  <c:v>243.4812</c:v>
                </c:pt>
                <c:pt idx="3">
                  <c:v>230.4784</c:v>
                </c:pt>
              </c:numCache>
            </c:numRef>
          </c:xVal>
          <c:yVal>
            <c:numRef>
              <c:f>Sheet1!$B$2:$B$5</c:f>
              <c:numCache>
                <c:formatCode>General</c:formatCode>
                <c:ptCount val="4"/>
                <c:pt idx="0">
                  <c:v>0.966</c:v>
                </c:pt>
                <c:pt idx="1">
                  <c:v>1.034</c:v>
                </c:pt>
                <c:pt idx="2">
                  <c:v>0.979</c:v>
                </c:pt>
                <c:pt idx="3">
                  <c:v>0.829</c:v>
                </c:pt>
              </c:numCache>
            </c:numRef>
          </c:yVal>
          <c:bubbleSize>
            <c:numRef>
              <c:f>Sheet1!$C$2:$C$5</c:f>
              <c:numCache>
                <c:formatCode>General</c:formatCode>
                <c:ptCount val="4"/>
                <c:pt idx="0">
                  <c:v>3012936</c:v>
                </c:pt>
                <c:pt idx="1">
                  <c:v>2876219</c:v>
                </c:pt>
                <c:pt idx="2">
                  <c:v>953229</c:v>
                </c:pt>
                <c:pt idx="3">
                  <c:v>29339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4.0"/>
          <c:min val="184.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6A487C6-FA14-43A4-867A-EDD34AAFF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5F8E6CD-30AE-4C07-AA57-6E0857198F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0405362-85DE-4CFF-A04B-130CDF8E6C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76608EC-3755-42D3-81FF-F40F3142F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5BC99C-2BEA-4585-BA4C-15EAD7B57C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27A9912-2A14-4155-B3FD-EDC3E87C87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1975F79-A5C1-4E78-9CDA-3861406E74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FB37A31-9968-46CC-B289-EBC168FD9D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4305</c:v>
                </c:pt>
                <c:pt idx="1">
                  <c:v>245.5688</c:v>
                </c:pt>
                <c:pt idx="2">
                  <c:v>294.3934</c:v>
                </c:pt>
                <c:pt idx="3">
                  <c:v>241.8605</c:v>
                </c:pt>
                <c:pt idx="4">
                  <c:v>80.9126</c:v>
                </c:pt>
                <c:pt idx="5">
                  <c:v>614.8187</c:v>
                </c:pt>
                <c:pt idx="6">
                  <c:v>73.0856</c:v>
                </c:pt>
                <c:pt idx="7">
                  <c:v>635.6437</c:v>
                </c:pt>
              </c:numCache>
            </c:numRef>
          </c:xVal>
          <c:yVal>
            <c:numRef>
              <c:f>Sheet1!$B$2:$B$9</c:f>
              <c:numCache>
                <c:formatCode>General</c:formatCode>
                <c:ptCount val="8"/>
                <c:pt idx="0">
                  <c:v>1.506</c:v>
                </c:pt>
                <c:pt idx="1">
                  <c:v>0.745</c:v>
                </c:pt>
                <c:pt idx="2">
                  <c:v>2.109</c:v>
                </c:pt>
                <c:pt idx="3">
                  <c:v>0.694</c:v>
                </c:pt>
                <c:pt idx="4">
                  <c:v>0.424</c:v>
                </c:pt>
                <c:pt idx="5">
                  <c:v>11.061</c:v>
                </c:pt>
                <c:pt idx="6">
                  <c:v>0.392</c:v>
                </c:pt>
                <c:pt idx="7">
                  <c:v>6.004</c:v>
                </c:pt>
              </c:numCache>
            </c:numRef>
          </c:yVal>
          <c:bubbleSize>
            <c:numRef>
              <c:f>Sheet1!$C$2:$C$9</c:f>
              <c:numCache>
                <c:formatCode>General</c:formatCode>
                <c:ptCount val="8"/>
                <c:pt idx="0">
                  <c:v>27695220</c:v>
                </c:pt>
                <c:pt idx="1">
                  <c:v>9764061</c:v>
                </c:pt>
                <c:pt idx="2">
                  <c:v>9055836</c:v>
                </c:pt>
                <c:pt idx="3">
                  <c:v>7898680</c:v>
                </c:pt>
                <c:pt idx="4">
                  <c:v>5504728</c:v>
                </c:pt>
                <c:pt idx="5">
                  <c:v>2370126</c:v>
                </c:pt>
                <c:pt idx="6">
                  <c:v>1528440</c:v>
                </c:pt>
                <c:pt idx="7">
                  <c:v>103292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63.0"/>
          <c:min val="5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2882A4F-99AA-475C-AB2B-503AC152FB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3EF3071-3A84-47E0-AE67-BBFD955D63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DACFC16-9BFA-4D70-8A75-3BA51E9208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DDE189E-13A1-43B7-84B8-2D642FAD1B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0D0AB31-E19F-4889-8CA3-9146C14C91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739BF7E-5BCD-43F4-9BBC-AC1DB35A2E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1438253-B62E-43D5-8338-F9428F1BE2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47F21DA-8859-49C9-BF54-9E2D7281B3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16.5162</c:v>
                </c:pt>
                <c:pt idx="1">
                  <c:v>182.1059</c:v>
                </c:pt>
                <c:pt idx="2">
                  <c:v>163.6695</c:v>
                </c:pt>
                <c:pt idx="3">
                  <c:v>222.3146</c:v>
                </c:pt>
              </c:numCache>
            </c:numRef>
          </c:xVal>
          <c:yVal>
            <c:numRef>
              <c:f>Sheet1!$B$2:$B$5</c:f>
              <c:numCache>
                <c:formatCode>General</c:formatCode>
                <c:ptCount val="4"/>
                <c:pt idx="0">
                  <c:v>0.967</c:v>
                </c:pt>
                <c:pt idx="1">
                  <c:v>0.887</c:v>
                </c:pt>
                <c:pt idx="2">
                  <c:v>0.804</c:v>
                </c:pt>
                <c:pt idx="3">
                  <c:v>3.134</c:v>
                </c:pt>
              </c:numCache>
            </c:numRef>
          </c:yVal>
          <c:bubbleSize>
            <c:numRef>
              <c:f>Sheet1!$C$2:$C$5</c:f>
              <c:numCache>
                <c:formatCode>General</c:formatCode>
                <c:ptCount val="4"/>
                <c:pt idx="0">
                  <c:v>22540199</c:v>
                </c:pt>
                <c:pt idx="1">
                  <c:v>14187871</c:v>
                </c:pt>
                <c:pt idx="2">
                  <c:v>3074204</c:v>
                </c:pt>
                <c:pt idx="3">
                  <c:v>14926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67.0"/>
          <c:min val="13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A2C5621-2DC6-430D-8A8F-334D9C27D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2B8A671-0F99-4DC7-9249-C750D9C591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D346E54-A795-44B1-8851-349BFE1079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915F2DF-F185-4007-818B-FB98FF4D8E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337528A-DAF4-4A39-B4CF-74172B35A6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967AF61-6551-4283-9B35-8D84D06A44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4637FAD-D2D3-46F1-A167-4D0C2C5CA1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8968214-547F-4992-9F77-848472E564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67.9113</c:v>
                </c:pt>
                <c:pt idx="1">
                  <c:v>169.8439</c:v>
                </c:pt>
                <c:pt idx="2">
                  <c:v>136.4699</c:v>
                </c:pt>
                <c:pt idx="3">
                  <c:v>603.704</c:v>
                </c:pt>
                <c:pt idx="4">
                  <c:v>555.2816</c:v>
                </c:pt>
                <c:pt idx="5">
                  <c:v>513.7652</c:v>
                </c:pt>
              </c:numCache>
            </c:numRef>
          </c:xVal>
          <c:yVal>
            <c:numRef>
              <c:f>Sheet1!$B$2:$B$7</c:f>
              <c:numCache>
                <c:formatCode>General</c:formatCode>
                <c:ptCount val="6"/>
                <c:pt idx="0">
                  <c:v>1.109</c:v>
                </c:pt>
                <c:pt idx="1">
                  <c:v>0.545</c:v>
                </c:pt>
                <c:pt idx="2">
                  <c:v>0.332</c:v>
                </c:pt>
                <c:pt idx="3">
                  <c:v>1.932</c:v>
                </c:pt>
                <c:pt idx="4">
                  <c:v>9.227</c:v>
                </c:pt>
                <c:pt idx="5">
                  <c:v>8.566</c:v>
                </c:pt>
              </c:numCache>
            </c:numRef>
          </c:yVal>
          <c:bubbleSize>
            <c:numRef>
              <c:f>Sheet1!$C$2:$C$7</c:f>
              <c:numCache>
                <c:formatCode>General</c:formatCode>
                <c:ptCount val="6"/>
                <c:pt idx="0">
                  <c:v>10553829</c:v>
                </c:pt>
                <c:pt idx="1">
                  <c:v>1178207</c:v>
                </c:pt>
                <c:pt idx="2">
                  <c:v>940414</c:v>
                </c:pt>
                <c:pt idx="3">
                  <c:v>868730</c:v>
                </c:pt>
                <c:pt idx="4">
                  <c:v>865684</c:v>
                </c:pt>
                <c:pt idx="5">
                  <c:v>77013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4.0"/>
          <c:min val="10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70AA7C9-48D5-44DC-B993-7D1E517B43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AF69915-7174-4760-9005-98B226CC79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AD855EC-CE19-4213-937E-998654FB45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A4C3DD4-8CEF-4BCC-82E6-5343A3ACB1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05A189E-9342-4453-81F1-D2AAF519B5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DDC5890-35E3-4121-BD0E-E7878A5C1B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54D4413-4D7E-4B80-81D6-4BB29155DE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0259667-94F3-48ED-9332-26AABD6CF2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4.841</c:v>
                </c:pt>
                <c:pt idx="1">
                  <c:v>613.1876</c:v>
                </c:pt>
                <c:pt idx="2">
                  <c:v>587.8717</c:v>
                </c:pt>
                <c:pt idx="3">
                  <c:v>525.4558</c:v>
                </c:pt>
                <c:pt idx="4">
                  <c:v>314.7817</c:v>
                </c:pt>
                <c:pt idx="5">
                  <c:v>605.6221</c:v>
                </c:pt>
                <c:pt idx="6">
                  <c:v>268.7677</c:v>
                </c:pt>
              </c:numCache>
            </c:numRef>
          </c:xVal>
          <c:yVal>
            <c:numRef>
              <c:f>Sheet1!$B$2:$B$8</c:f>
              <c:numCache>
                <c:formatCode>General</c:formatCode>
                <c:ptCount val="7"/>
                <c:pt idx="0">
                  <c:v>0.522</c:v>
                </c:pt>
                <c:pt idx="1">
                  <c:v>2.402</c:v>
                </c:pt>
                <c:pt idx="2">
                  <c:v>2.154</c:v>
                </c:pt>
                <c:pt idx="3">
                  <c:v>1.159</c:v>
                </c:pt>
                <c:pt idx="4">
                  <c:v>1.03</c:v>
                </c:pt>
                <c:pt idx="5">
                  <c:v>0.0</c:v>
                </c:pt>
                <c:pt idx="6">
                  <c:v>0.526</c:v>
                </c:pt>
              </c:numCache>
            </c:numRef>
          </c:yVal>
          <c:bubbleSize>
            <c:numRef>
              <c:f>Sheet1!$C$2:$C$8</c:f>
              <c:numCache>
                <c:formatCode>General</c:formatCode>
                <c:ptCount val="7"/>
                <c:pt idx="0">
                  <c:v>1312348</c:v>
                </c:pt>
                <c:pt idx="1">
                  <c:v>1019731</c:v>
                </c:pt>
                <c:pt idx="2">
                  <c:v>888862</c:v>
                </c:pt>
                <c:pt idx="3">
                  <c:v>273237</c:v>
                </c:pt>
                <c:pt idx="4">
                  <c:v>230735</c:v>
                </c:pt>
                <c:pt idx="5">
                  <c:v>104167</c:v>
                </c:pt>
                <c:pt idx="6">
                  <c:v>6826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6.0"/>
          <c:min val="19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088A7A2-2C6C-4FEE-8661-BB4579DE56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4C3ACCA-63D5-4193-A7E4-1F48DEED6B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56568D-84E2-424C-B514-518B03BBC4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92A28D6-C63B-4B60-88DC-54B761DFCD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57D5798-744B-4E4A-A929-288063D631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C541190-DDA0-4B86-A50F-560C61C153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55131CC-C1DD-4B40-B7B0-CC7D3FF56C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F5F1E0E-AFE3-41EA-92A9-E690954C27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79.1474</c:v>
                </c:pt>
                <c:pt idx="1">
                  <c:v>286.0022</c:v>
                </c:pt>
                <c:pt idx="2">
                  <c:v>288.7124</c:v>
                </c:pt>
              </c:numCache>
            </c:numRef>
          </c:xVal>
          <c:yVal>
            <c:numRef>
              <c:f>Sheet1!$B$2:$B$4</c:f>
              <c:numCache>
                <c:formatCode>General</c:formatCode>
                <c:ptCount val="3"/>
                <c:pt idx="0">
                  <c:v>0.956</c:v>
                </c:pt>
                <c:pt idx="1">
                  <c:v>1.014</c:v>
                </c:pt>
                <c:pt idx="2">
                  <c:v>1.004</c:v>
                </c:pt>
              </c:numCache>
            </c:numRef>
          </c:yVal>
          <c:bubbleSize>
            <c:numRef>
              <c:f>Sheet1!$C$2:$C$4</c:f>
              <c:numCache>
                <c:formatCode>General</c:formatCode>
                <c:ptCount val="3"/>
                <c:pt idx="0">
                  <c:v>8640450</c:v>
                </c:pt>
                <c:pt idx="1">
                  <c:v>8037806</c:v>
                </c:pt>
                <c:pt idx="2">
                  <c:v>7281905</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6.0"/>
          <c:min val="22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2F59318-319D-40FA-9D9F-5EC5D46E9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71DC92D-E5E6-4368-A685-A602054AA2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2D19D5B-80B8-40BF-BCC3-F6E802E03D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E13825C-E54B-4458-AB3C-503D0AFF15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62E3406-B03A-433C-AED6-0F71B9391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34D6735-909F-48B5-B5F0-8B0A7B82F3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7D9E9CC-7005-435E-963E-3B6CBAF46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92EDCD8-941C-45C0-8134-9F4B8FB202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1.4576</c:v>
                </c:pt>
                <c:pt idx="1">
                  <c:v>214.7615</c:v>
                </c:pt>
                <c:pt idx="2">
                  <c:v>313.9704</c:v>
                </c:pt>
                <c:pt idx="3">
                  <c:v>577.1653</c:v>
                </c:pt>
                <c:pt idx="4">
                  <c:v>289.7245</c:v>
                </c:pt>
                <c:pt idx="5">
                  <c:v>84.4718</c:v>
                </c:pt>
                <c:pt idx="6">
                  <c:v>76.9485</c:v>
                </c:pt>
                <c:pt idx="7">
                  <c:v>524.6259</c:v>
                </c:pt>
              </c:numCache>
            </c:numRef>
          </c:xVal>
          <c:yVal>
            <c:numRef>
              <c:f>Sheet1!$B$2:$B$9</c:f>
              <c:numCache>
                <c:formatCode>General</c:formatCode>
                <c:ptCount val="8"/>
                <c:pt idx="0">
                  <c:v>1.1</c:v>
                </c:pt>
                <c:pt idx="1">
                  <c:v>0.75</c:v>
                </c:pt>
                <c:pt idx="2">
                  <c:v>4.245</c:v>
                </c:pt>
                <c:pt idx="3">
                  <c:v>4.18</c:v>
                </c:pt>
                <c:pt idx="4">
                  <c:v>2.057</c:v>
                </c:pt>
                <c:pt idx="5">
                  <c:v>0.416</c:v>
                </c:pt>
                <c:pt idx="6">
                  <c:v>0.394</c:v>
                </c:pt>
                <c:pt idx="7">
                  <c:v>4.425</c:v>
                </c:pt>
              </c:numCache>
            </c:numRef>
          </c:yVal>
          <c:bubbleSize>
            <c:numRef>
              <c:f>Sheet1!$C$2:$C$9</c:f>
              <c:numCache>
                <c:formatCode>General</c:formatCode>
                <c:ptCount val="8"/>
                <c:pt idx="0">
                  <c:v>577505827</c:v>
                </c:pt>
                <c:pt idx="1">
                  <c:v>497073406</c:v>
                </c:pt>
                <c:pt idx="2">
                  <c:v>114932306</c:v>
                </c:pt>
                <c:pt idx="3">
                  <c:v>108131910</c:v>
                </c:pt>
                <c:pt idx="4">
                  <c:v>102115148</c:v>
                </c:pt>
                <c:pt idx="5">
                  <c:v>62397486</c:v>
                </c:pt>
                <c:pt idx="6">
                  <c:v>32893004</c:v>
                </c:pt>
                <c:pt idx="7">
                  <c:v>2808164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0"/>
          <c:min val="6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6A31A4E-43A7-4DCF-8E8C-D71DCD5E12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425E36C-8929-4F40-85FD-5043DE49AB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17B0D54-8BA9-4C1B-9879-CDDD45BF89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3DCF7A2-AFBA-4D1F-ADF7-EE6E590E8F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867C7E-A521-4F2B-A3F1-2FFB5F07E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9975F04-E1FB-4CD7-BA70-1C63D9B70D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1950F6E-70AD-4642-B29D-92BC5698C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4B1D55C-B176-4621-8D97-A9429B4FE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2.4307</c:v>
                </c:pt>
                <c:pt idx="1">
                  <c:v>205.2532</c:v>
                </c:pt>
                <c:pt idx="2">
                  <c:v>289.4863</c:v>
                </c:pt>
                <c:pt idx="3">
                  <c:v>591.1292</c:v>
                </c:pt>
                <c:pt idx="4">
                  <c:v>275.2457</c:v>
                </c:pt>
                <c:pt idx="5">
                  <c:v>84.3184</c:v>
                </c:pt>
                <c:pt idx="6">
                  <c:v>76.5351</c:v>
                </c:pt>
                <c:pt idx="7">
                  <c:v>552.4202</c:v>
                </c:pt>
              </c:numCache>
            </c:numRef>
          </c:xVal>
          <c:yVal>
            <c:numRef>
              <c:f>Sheet1!$B$2:$B$9</c:f>
              <c:numCache>
                <c:formatCode>General</c:formatCode>
                <c:ptCount val="8"/>
                <c:pt idx="0">
                  <c:v>1.104</c:v>
                </c:pt>
                <c:pt idx="1">
                  <c:v>0.737</c:v>
                </c:pt>
                <c:pt idx="2">
                  <c:v>2.046</c:v>
                </c:pt>
                <c:pt idx="3">
                  <c:v>4.246</c:v>
                </c:pt>
                <c:pt idx="4">
                  <c:v>4.005</c:v>
                </c:pt>
                <c:pt idx="5">
                  <c:v>0.405</c:v>
                </c:pt>
                <c:pt idx="6">
                  <c:v>0.39</c:v>
                </c:pt>
                <c:pt idx="7">
                  <c:v>4.401</c:v>
                </c:pt>
              </c:numCache>
            </c:numRef>
          </c:yVal>
          <c:bubbleSize>
            <c:numRef>
              <c:f>Sheet1!$C$2:$C$9</c:f>
              <c:numCache>
                <c:formatCode>General</c:formatCode>
                <c:ptCount val="8"/>
                <c:pt idx="0">
                  <c:v>122691412</c:v>
                </c:pt>
                <c:pt idx="1">
                  <c:v>103269264</c:v>
                </c:pt>
                <c:pt idx="2">
                  <c:v>28274994</c:v>
                </c:pt>
                <c:pt idx="3">
                  <c:v>25478849</c:v>
                </c:pt>
                <c:pt idx="4">
                  <c:v>22917510</c:v>
                </c:pt>
                <c:pt idx="5">
                  <c:v>13081245</c:v>
                </c:pt>
                <c:pt idx="6">
                  <c:v>8185349</c:v>
                </c:pt>
                <c:pt idx="7">
                  <c:v>399234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0"/>
          <c:min val="6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AF87D48-9A4D-44BF-AD83-02D09CA8CF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18A4CD1-40A8-42ED-A265-864D3BE53D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415BDE2-E95C-433C-B106-7235D57AA2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E3CA7C4-4E56-48D6-9192-2110B5EEB7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EA30407-45DF-48E4-BC37-3DD260FBC8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7AB12E6-8C97-49E2-846F-A693458314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B27D534-7D3C-4335-A42A-2DC74FDFC7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0A05606-1185-4716-9CFD-AA6CCA7897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5.4583</c:v>
                </c:pt>
                <c:pt idx="1">
                  <c:v>198.2029</c:v>
                </c:pt>
                <c:pt idx="2">
                  <c:v>372.6267</c:v>
                </c:pt>
                <c:pt idx="3">
                  <c:v>552.8728</c:v>
                </c:pt>
                <c:pt idx="4">
                  <c:v>291.7559</c:v>
                </c:pt>
                <c:pt idx="5">
                  <c:v>504.4611</c:v>
                </c:pt>
                <c:pt idx="6">
                  <c:v>83.0034</c:v>
                </c:pt>
                <c:pt idx="7">
                  <c:v>460.5221</c:v>
                </c:pt>
              </c:numCache>
            </c:numRef>
          </c:xVal>
          <c:yVal>
            <c:numRef>
              <c:f>Sheet1!$B$2:$B$9</c:f>
              <c:numCache>
                <c:formatCode>General</c:formatCode>
                <c:ptCount val="8"/>
                <c:pt idx="0">
                  <c:v>1.001</c:v>
                </c:pt>
                <c:pt idx="1">
                  <c:v>0.589</c:v>
                </c:pt>
                <c:pt idx="2">
                  <c:v>3.482</c:v>
                </c:pt>
                <c:pt idx="3">
                  <c:v>3.394</c:v>
                </c:pt>
                <c:pt idx="4">
                  <c:v>1.687</c:v>
                </c:pt>
                <c:pt idx="5">
                  <c:v>3.347</c:v>
                </c:pt>
                <c:pt idx="6">
                  <c:v>0.33</c:v>
                </c:pt>
                <c:pt idx="7">
                  <c:v>4.048</c:v>
                </c:pt>
              </c:numCache>
            </c:numRef>
          </c:yVal>
          <c:bubbleSize>
            <c:numRef>
              <c:f>Sheet1!$C$2:$C$9</c:f>
              <c:numCache>
                <c:formatCode>General</c:formatCode>
                <c:ptCount val="8"/>
                <c:pt idx="0">
                  <c:v>91887846</c:v>
                </c:pt>
                <c:pt idx="1">
                  <c:v>68907006</c:v>
                </c:pt>
                <c:pt idx="2">
                  <c:v>40990796</c:v>
                </c:pt>
                <c:pt idx="3">
                  <c:v>38563986</c:v>
                </c:pt>
                <c:pt idx="4">
                  <c:v>19448156</c:v>
                </c:pt>
                <c:pt idx="5">
                  <c:v>13237058</c:v>
                </c:pt>
                <c:pt idx="6">
                  <c:v>9573118</c:v>
                </c:pt>
                <c:pt idx="7">
                  <c:v>506850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3.0"/>
          <c:min val="6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36AD1FE-14BF-4886-8E8F-83A8700718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6BED6F4-6B08-496E-89B1-2F773EAECC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FA9BA53-718A-465A-9C47-0F6275528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9A0C67B-6D89-4C70-B9C9-88617E7312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708BDE7-4E0F-4020-AF48-CE598DC484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BE0A419-4A65-44AF-B4D0-B28B81EE06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122F8FE-D001-4D33-B3FC-21602E2C72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6DFDB57-6598-4D43-B98C-CEB219365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2.1459</c:v>
                </c:pt>
                <c:pt idx="1">
                  <c:v>218.2491</c:v>
                </c:pt>
                <c:pt idx="2">
                  <c:v>280.3714</c:v>
                </c:pt>
                <c:pt idx="3">
                  <c:v>86.5684</c:v>
                </c:pt>
                <c:pt idx="4">
                  <c:v>232.1837</c:v>
                </c:pt>
                <c:pt idx="5">
                  <c:v>79.2122</c:v>
                </c:pt>
                <c:pt idx="6">
                  <c:v>605.0969</c:v>
                </c:pt>
                <c:pt idx="7">
                  <c:v>291.0607</c:v>
                </c:pt>
              </c:numCache>
            </c:numRef>
          </c:xVal>
          <c:yVal>
            <c:numRef>
              <c:f>Sheet1!$B$2:$B$9</c:f>
              <c:numCache>
                <c:formatCode>General</c:formatCode>
                <c:ptCount val="8"/>
                <c:pt idx="0">
                  <c:v>1.165</c:v>
                </c:pt>
                <c:pt idx="1">
                  <c:v>0.86</c:v>
                </c:pt>
                <c:pt idx="2">
                  <c:v>2.176</c:v>
                </c:pt>
                <c:pt idx="3">
                  <c:v>0.479</c:v>
                </c:pt>
                <c:pt idx="4">
                  <c:v>4.56</c:v>
                </c:pt>
                <c:pt idx="5">
                  <c:v>0.466</c:v>
                </c:pt>
                <c:pt idx="6">
                  <c:v>5.171</c:v>
                </c:pt>
                <c:pt idx="7">
                  <c:v>1.124</c:v>
                </c:pt>
              </c:numCache>
            </c:numRef>
          </c:yVal>
          <c:bubbleSize>
            <c:numRef>
              <c:f>Sheet1!$C$2:$C$9</c:f>
              <c:numCache>
                <c:formatCode>General</c:formatCode>
                <c:ptCount val="8"/>
                <c:pt idx="0">
                  <c:v>113118687</c:v>
                </c:pt>
                <c:pt idx="1">
                  <c:v>89424716</c:v>
                </c:pt>
                <c:pt idx="2">
                  <c:v>13224280</c:v>
                </c:pt>
                <c:pt idx="3">
                  <c:v>10298174</c:v>
                </c:pt>
                <c:pt idx="4">
                  <c:v>8183548</c:v>
                </c:pt>
                <c:pt idx="5">
                  <c:v>7336634</c:v>
                </c:pt>
                <c:pt idx="6">
                  <c:v>3786091</c:v>
                </c:pt>
                <c:pt idx="7">
                  <c:v>37238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6.0"/>
          <c:min val="6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CA1539E-FC1F-490C-86A1-14496EA051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CB7379A-55AE-439F-83D2-9834A752DC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1C25557-F7C6-48CC-A514-83A53C007C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3721479-3EFA-43F9-8D69-799D973A17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AC25F50-2747-4344-92BA-8C9A8539D8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A66A1D0-8EE4-4F50-A858-F0702B6C55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7A05902-3BE4-4561-BE0A-159648C601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F86D866-32CE-4989-843D-8C04FAD57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0.6077</c:v>
                </c:pt>
                <c:pt idx="1">
                  <c:v>216.7732</c:v>
                </c:pt>
                <c:pt idx="2">
                  <c:v>590.5508</c:v>
                </c:pt>
                <c:pt idx="3">
                  <c:v>308.9858</c:v>
                </c:pt>
                <c:pt idx="4">
                  <c:v>288.5933</c:v>
                </c:pt>
                <c:pt idx="5">
                  <c:v>84.6685</c:v>
                </c:pt>
                <c:pt idx="6">
                  <c:v>77.1557</c:v>
                </c:pt>
                <c:pt idx="7">
                  <c:v>541.5231</c:v>
                </c:pt>
              </c:numCache>
            </c:numRef>
          </c:xVal>
          <c:yVal>
            <c:numRef>
              <c:f>Sheet1!$B$2:$B$9</c:f>
              <c:numCache>
                <c:formatCode>General</c:formatCode>
                <c:ptCount val="8"/>
                <c:pt idx="0">
                  <c:v>1.114</c:v>
                </c:pt>
                <c:pt idx="1">
                  <c:v>0.755</c:v>
                </c:pt>
                <c:pt idx="2">
                  <c:v>4.062</c:v>
                </c:pt>
                <c:pt idx="3">
                  <c:v>4.388</c:v>
                </c:pt>
                <c:pt idx="4">
                  <c:v>2.057</c:v>
                </c:pt>
                <c:pt idx="5">
                  <c:v>0.445</c:v>
                </c:pt>
                <c:pt idx="6">
                  <c:v>0.402</c:v>
                </c:pt>
                <c:pt idx="7">
                  <c:v>4.827</c:v>
                </c:pt>
              </c:numCache>
            </c:numRef>
          </c:yVal>
          <c:bubbleSize>
            <c:numRef>
              <c:f>Sheet1!$C$2:$C$9</c:f>
              <c:numCache>
                <c:formatCode>General</c:formatCode>
                <c:ptCount val="8"/>
                <c:pt idx="0">
                  <c:v>97420747</c:v>
                </c:pt>
                <c:pt idx="1">
                  <c:v>76654674</c:v>
                </c:pt>
                <c:pt idx="2">
                  <c:v>17830499</c:v>
                </c:pt>
                <c:pt idx="3">
                  <c:v>17284355</c:v>
                </c:pt>
                <c:pt idx="4">
                  <c:v>16300038</c:v>
                </c:pt>
                <c:pt idx="5">
                  <c:v>12515446</c:v>
                </c:pt>
                <c:pt idx="6">
                  <c:v>6946792</c:v>
                </c:pt>
                <c:pt idx="7">
                  <c:v>405600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0"/>
          <c:min val="6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9A58C96E-DAB5-4F5D-973B-4E277DD45B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0046A4E9-EA87-4C25-96B6-34F7DD2084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EAADD60F-B5CF-4CD8-A3DB-09A8F3E297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B31BEBDF-A44C-46D3-8C94-B55CEED057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9F6228C9-90E5-48D6-B0AC-E7A513FE8E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2D16A26C-84E5-4E1D-9F45-AA0376A7F2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FF264080-F954-46E1-87D2-B25A65A696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FD010A49-0FBF-446D-A094-E2F16C4A38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50.4076</c:v>
                </c:pt>
                <c:pt idx="1">
                  <c:v>131.8665</c:v>
                </c:pt>
                <c:pt idx="2">
                  <c:v>116.8264</c:v>
                </c:pt>
                <c:pt idx="3">
                  <c:v>213.8289</c:v>
                </c:pt>
                <c:pt idx="4">
                  <c:v>53.3908</c:v>
                </c:pt>
              </c:numCache>
            </c:numRef>
          </c:xVal>
          <c:yVal>
            <c:numRef>
              <c:f>Sheet1!$B$2:$B$6</c:f>
              <c:numCache>
                <c:formatCode>General</c:formatCode>
                <c:ptCount val="5"/>
                <c:pt idx="0">
                  <c:v>0.994</c:v>
                </c:pt>
                <c:pt idx="1">
                  <c:v>0.672</c:v>
                </c:pt>
                <c:pt idx="2">
                  <c:v>0.928</c:v>
                </c:pt>
                <c:pt idx="3">
                  <c:v>1.472</c:v>
                </c:pt>
                <c:pt idx="4">
                  <c:v>0.357</c:v>
                </c:pt>
              </c:numCache>
            </c:numRef>
          </c:yVal>
          <c:bubbleSize>
            <c:numRef>
              <c:f>Sheet1!$C$2:$C$6</c:f>
              <c:numCache>
                <c:formatCode>General</c:formatCode>
                <c:ptCount val="5"/>
                <c:pt idx="0">
                  <c:v>2871732</c:v>
                </c:pt>
                <c:pt idx="1">
                  <c:v>1293742</c:v>
                </c:pt>
                <c:pt idx="2">
                  <c:v>1124337</c:v>
                </c:pt>
                <c:pt idx="3">
                  <c:v>319888</c:v>
                </c:pt>
                <c:pt idx="4">
                  <c:v>13198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7.0"/>
          <c:min val="4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861483F-8AC8-41A8-9DF1-A00EE13422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B8E7109-7B23-471D-9C6D-E0328CF808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78883D2-4664-4CC3-A8EE-A87204A9A0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0EEFAB6-0371-47C0-9C81-4CF4EB8BED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FE7DFE4-208C-4233-AC1B-250C1B11CA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B942DF4-723A-429A-A985-6EECC50322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754625C-6604-4FF1-89E9-65AE11C65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36AC2FC-6AA9-46D7-91CB-FCDCFCADE7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25.4504</c:v>
                </c:pt>
                <c:pt idx="1">
                  <c:v>254.7749</c:v>
                </c:pt>
                <c:pt idx="2">
                  <c:v>587.347</c:v>
                </c:pt>
                <c:pt idx="3">
                  <c:v>329.6099</c:v>
                </c:pt>
                <c:pt idx="4">
                  <c:v>294.1069</c:v>
                </c:pt>
                <c:pt idx="5">
                  <c:v>85.7471</c:v>
                </c:pt>
                <c:pt idx="6">
                  <c:v>76.3016</c:v>
                </c:pt>
                <c:pt idx="7">
                  <c:v>526.444</c:v>
                </c:pt>
              </c:numCache>
            </c:numRef>
          </c:xVal>
          <c:yVal>
            <c:numRef>
              <c:f>Sheet1!$B$2:$B$9</c:f>
              <c:numCache>
                <c:formatCode>General</c:formatCode>
                <c:ptCount val="8"/>
                <c:pt idx="0">
                  <c:v>0.785</c:v>
                </c:pt>
                <c:pt idx="1">
                  <c:v>1.133</c:v>
                </c:pt>
                <c:pt idx="2">
                  <c:v>4.016</c:v>
                </c:pt>
                <c:pt idx="3">
                  <c:v>4.427</c:v>
                </c:pt>
                <c:pt idx="4">
                  <c:v>2.214</c:v>
                </c:pt>
                <c:pt idx="5">
                  <c:v>0.422</c:v>
                </c:pt>
                <c:pt idx="6">
                  <c:v>0.403</c:v>
                </c:pt>
                <c:pt idx="7">
                  <c:v>4.806</c:v>
                </c:pt>
              </c:numCache>
            </c:numRef>
          </c:yVal>
          <c:bubbleSize>
            <c:numRef>
              <c:f>Sheet1!$C$2:$C$9</c:f>
              <c:numCache>
                <c:formatCode>General</c:formatCode>
                <c:ptCount val="8"/>
                <c:pt idx="0">
                  <c:v>91249712</c:v>
                </c:pt>
                <c:pt idx="1">
                  <c:v>78965427</c:v>
                </c:pt>
                <c:pt idx="2">
                  <c:v>16648350</c:v>
                </c:pt>
                <c:pt idx="3">
                  <c:v>16217798</c:v>
                </c:pt>
                <c:pt idx="4">
                  <c:v>15534431</c:v>
                </c:pt>
                <c:pt idx="5">
                  <c:v>11402824</c:v>
                </c:pt>
                <c:pt idx="6">
                  <c:v>5048116</c:v>
                </c:pt>
                <c:pt idx="7">
                  <c:v>454479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5.0"/>
          <c:min val="6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800A6E0-5D36-4C97-8241-EB7B4C09DC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F42DE60-DA8B-4EF2-9165-0ACF61F0D1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F2C2039-9D53-4313-A56B-86368B54B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F1B4EB0-B02A-4D2D-B0D3-E11C2E7760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565D968-32DA-4859-8C2C-6A0CF3E809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2F33023-7B2D-4BF8-AF0D-E1186BCC04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69F3EA7-2AC6-468C-B64A-3C08D134F5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3ADD3E0-4CF4-4E4B-A6E7-F60E4FB805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5.875</c:v>
                </c:pt>
                <c:pt idx="1">
                  <c:v>228.5414</c:v>
                </c:pt>
                <c:pt idx="2">
                  <c:v>288.1657</c:v>
                </c:pt>
                <c:pt idx="3">
                  <c:v>294.8242</c:v>
                </c:pt>
                <c:pt idx="4">
                  <c:v>600.3644</c:v>
                </c:pt>
                <c:pt idx="5">
                  <c:v>80.7475</c:v>
                </c:pt>
              </c:numCache>
            </c:numRef>
          </c:xVal>
          <c:yVal>
            <c:numRef>
              <c:f>Sheet1!$B$2:$B$7</c:f>
              <c:numCache>
                <c:formatCode>General</c:formatCode>
                <c:ptCount val="6"/>
                <c:pt idx="0">
                  <c:v>1.135</c:v>
                </c:pt>
                <c:pt idx="1">
                  <c:v>0.815</c:v>
                </c:pt>
                <c:pt idx="2">
                  <c:v>4.475</c:v>
                </c:pt>
                <c:pt idx="3">
                  <c:v>2.207</c:v>
                </c:pt>
                <c:pt idx="4">
                  <c:v>4.558</c:v>
                </c:pt>
                <c:pt idx="5">
                  <c:v>0.434</c:v>
                </c:pt>
              </c:numCache>
            </c:numRef>
          </c:yVal>
          <c:bubbleSize>
            <c:numRef>
              <c:f>Sheet1!$C$2:$C$7</c:f>
              <c:numCache>
                <c:formatCode>General</c:formatCode>
                <c:ptCount val="6"/>
                <c:pt idx="0">
                  <c:v>73421708</c:v>
                </c:pt>
                <c:pt idx="1">
                  <c:v>67568034</c:v>
                </c:pt>
                <c:pt idx="2">
                  <c:v>9338299</c:v>
                </c:pt>
                <c:pt idx="3">
                  <c:v>9333249</c:v>
                </c:pt>
                <c:pt idx="4">
                  <c:v>5824135</c:v>
                </c:pt>
                <c:pt idx="5">
                  <c:v>552667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0.0"/>
          <c:min val="6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8887299-138B-4B1D-BC62-80E675E8C5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CF6BE87-110E-4FF1-9887-3732347A3C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597A7F5-9D4D-4A67-AEEB-752DFE9C1B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F8487DC-D821-4D25-9C94-9CF766B95D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42A1592-403D-4247-A652-FD9160CCB4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DA99C83-3F4B-4C61-BEAD-875B90F5F1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23391D8-6715-4EF7-9624-A2715FE434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A30FA39-F507-4468-B12E-B8C13F3A63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3.5229</c:v>
                </c:pt>
                <c:pt idx="1">
                  <c:v>217.0699</c:v>
                </c:pt>
                <c:pt idx="2">
                  <c:v>577.1653</c:v>
                </c:pt>
                <c:pt idx="3">
                  <c:v>316.2399</c:v>
                </c:pt>
                <c:pt idx="4">
                  <c:v>291.3579</c:v>
                </c:pt>
                <c:pt idx="5">
                  <c:v>84.7783</c:v>
                </c:pt>
                <c:pt idx="6">
                  <c:v>76.9486</c:v>
                </c:pt>
                <c:pt idx="7">
                  <c:v>539.3318</c:v>
                </c:pt>
              </c:numCache>
            </c:numRef>
          </c:xVal>
          <c:yVal>
            <c:numRef>
              <c:f>Sheet1!$B$2:$B$9</c:f>
              <c:numCache>
                <c:formatCode>General</c:formatCode>
                <c:ptCount val="8"/>
                <c:pt idx="0">
                  <c:v>1.09</c:v>
                </c:pt>
                <c:pt idx="1">
                  <c:v>0.764</c:v>
                </c:pt>
                <c:pt idx="2">
                  <c:v>4.064</c:v>
                </c:pt>
                <c:pt idx="3">
                  <c:v>4.119</c:v>
                </c:pt>
                <c:pt idx="4">
                  <c:v>1.995</c:v>
                </c:pt>
                <c:pt idx="5">
                  <c:v>0.409</c:v>
                </c:pt>
                <c:pt idx="6">
                  <c:v>0.383</c:v>
                </c:pt>
                <c:pt idx="7">
                  <c:v>4.137</c:v>
                </c:pt>
              </c:numCache>
            </c:numRef>
          </c:yVal>
          <c:bubbleSize>
            <c:numRef>
              <c:f>Sheet1!$C$2:$C$9</c:f>
              <c:numCache>
                <c:formatCode>General</c:formatCode>
                <c:ptCount val="8"/>
                <c:pt idx="0">
                  <c:v>562660025</c:v>
                </c:pt>
                <c:pt idx="1">
                  <c:v>464227988</c:v>
                </c:pt>
                <c:pt idx="2">
                  <c:v>108131910</c:v>
                </c:pt>
                <c:pt idx="3">
                  <c:v>105528003</c:v>
                </c:pt>
                <c:pt idx="4">
                  <c:v>101346207</c:v>
                </c:pt>
                <c:pt idx="5">
                  <c:v>61997244</c:v>
                </c:pt>
                <c:pt idx="6">
                  <c:v>32892975</c:v>
                </c:pt>
                <c:pt idx="7">
                  <c:v>2378075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0"/>
          <c:min val="6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B18486-06F1-4B0F-9004-FA25D45BBA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7C41FE1-C28F-42F3-8944-FD4A8B0EC3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B6D561B-E3C2-4EB0-8CCC-0A7DF41629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A9AF11E-9945-4A98-8EAA-09C3BE2422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F0E5B21-69F2-40BD-852B-5759D209CA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020083E-7EC0-4693-9475-1C563D76CB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7CD84FF-EE25-4C4A-B56B-2B84342866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72B4F4A-A9FC-4206-9480-E5313A06D9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87.6636</c:v>
                </c:pt>
                <c:pt idx="1">
                  <c:v>455.8596</c:v>
                </c:pt>
                <c:pt idx="2">
                  <c:v>425.4026</c:v>
                </c:pt>
                <c:pt idx="3">
                  <c:v>503.9086</c:v>
                </c:pt>
                <c:pt idx="4">
                  <c:v>166.6178</c:v>
                </c:pt>
                <c:pt idx="5">
                  <c:v>295.6549</c:v>
                </c:pt>
              </c:numCache>
            </c:numRef>
          </c:xVal>
          <c:yVal>
            <c:numRef>
              <c:f>Sheet1!$B$2:$B$7</c:f>
              <c:numCache>
                <c:formatCode>General</c:formatCode>
                <c:ptCount val="6"/>
                <c:pt idx="0">
                  <c:v>1.393</c:v>
                </c:pt>
                <c:pt idx="1">
                  <c:v>1.8</c:v>
                </c:pt>
                <c:pt idx="2">
                  <c:v>0.929</c:v>
                </c:pt>
                <c:pt idx="3">
                  <c:v>0.541</c:v>
                </c:pt>
                <c:pt idx="4">
                  <c:v>0.999</c:v>
                </c:pt>
                <c:pt idx="5">
                  <c:v>2.341</c:v>
                </c:pt>
              </c:numCache>
            </c:numRef>
          </c:yVal>
          <c:bubbleSize>
            <c:numRef>
              <c:f>Sheet1!$C$2:$C$7</c:f>
              <c:numCache>
                <c:formatCode>General</c:formatCode>
                <c:ptCount val="6"/>
                <c:pt idx="0">
                  <c:v>9210988</c:v>
                </c:pt>
                <c:pt idx="1">
                  <c:v>4300124</c:v>
                </c:pt>
                <c:pt idx="2">
                  <c:v>2186144</c:v>
                </c:pt>
                <c:pt idx="3">
                  <c:v>1069294</c:v>
                </c:pt>
                <c:pt idx="4">
                  <c:v>768941</c:v>
                </c:pt>
                <c:pt idx="5">
                  <c:v>70927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05.0"/>
          <c:min val="13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19A013-EC86-4FC2-AE86-6C2CB5457E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B70FBB6-00D4-48F2-A042-C73235A32D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4E9816C-166D-4CDF-B565-E3F7063DDE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2D60049-C393-400B-B699-230AABFC0C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1C90161-B4A4-4307-82E9-2A3D554F07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9132F61-3C96-4F82-8EA6-3E04C81FA9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D2060AB-C670-4405-8814-A3F6AFC09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5BB1F47-1D51-4A0C-945A-E2B8298B69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56.0467</c:v>
                </c:pt>
                <c:pt idx="1">
                  <c:v>245.2593</c:v>
                </c:pt>
                <c:pt idx="2">
                  <c:v>252.9688</c:v>
                </c:pt>
                <c:pt idx="3">
                  <c:v>133.7369</c:v>
                </c:pt>
              </c:numCache>
            </c:numRef>
          </c:xVal>
          <c:yVal>
            <c:numRef>
              <c:f>Sheet1!$B$2:$B$5</c:f>
              <c:numCache>
                <c:formatCode>General</c:formatCode>
                <c:ptCount val="4"/>
                <c:pt idx="0">
                  <c:v>0.971</c:v>
                </c:pt>
                <c:pt idx="1">
                  <c:v>1.106</c:v>
                </c:pt>
                <c:pt idx="2">
                  <c:v>1.095</c:v>
                </c:pt>
                <c:pt idx="3">
                  <c:v>0.839</c:v>
                </c:pt>
              </c:numCache>
            </c:numRef>
          </c:yVal>
          <c:bubbleSize>
            <c:numRef>
              <c:f>Sheet1!$C$2:$C$5</c:f>
              <c:numCache>
                <c:formatCode>General</c:formatCode>
                <c:ptCount val="4"/>
                <c:pt idx="0">
                  <c:v>16134015</c:v>
                </c:pt>
                <c:pt idx="1">
                  <c:v>8223055</c:v>
                </c:pt>
                <c:pt idx="2">
                  <c:v>1516295</c:v>
                </c:pt>
                <c:pt idx="3">
                  <c:v>56209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7.0"/>
          <c:min val="10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C835E6-B61B-471B-A7F6-FDE0209BA0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2FCB808-D2F5-4B69-A2A0-B5D5EF71F7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AE99F6E-01FA-494A-952F-BD6C3DE74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3721ED9-A484-4E81-BA0A-79A379C9B3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DE059D-7B98-48CD-B7F3-ADF2BB6551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A55F807-7229-4378-83CD-D88B8FE831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952A074-B22F-442F-9B0D-8D3E1DB793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A164A9C-AAA0-454A-AD4B-90726F90F3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47.833</c:v>
                </c:pt>
                <c:pt idx="1">
                  <c:v>114.9379</c:v>
                </c:pt>
                <c:pt idx="2">
                  <c:v>221.8225</c:v>
                </c:pt>
                <c:pt idx="3">
                  <c:v>53.6305</c:v>
                </c:pt>
              </c:numCache>
            </c:numRef>
          </c:xVal>
          <c:yVal>
            <c:numRef>
              <c:f>Sheet1!$B$2:$B$5</c:f>
              <c:numCache>
                <c:formatCode>General</c:formatCode>
                <c:ptCount val="4"/>
                <c:pt idx="0">
                  <c:v>0.945</c:v>
                </c:pt>
                <c:pt idx="1">
                  <c:v>0.997</c:v>
                </c:pt>
                <c:pt idx="2">
                  <c:v>1.778</c:v>
                </c:pt>
                <c:pt idx="3">
                  <c:v>0.395</c:v>
                </c:pt>
              </c:numCache>
            </c:numRef>
          </c:yVal>
          <c:bubbleSize>
            <c:numRef>
              <c:f>Sheet1!$C$2:$C$5</c:f>
              <c:numCache>
                <c:formatCode>General</c:formatCode>
                <c:ptCount val="4"/>
                <c:pt idx="0">
                  <c:v>16668025</c:v>
                </c:pt>
                <c:pt idx="1">
                  <c:v>4436603</c:v>
                </c:pt>
                <c:pt idx="2">
                  <c:v>438765</c:v>
                </c:pt>
                <c:pt idx="3">
                  <c:v>28402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66.0"/>
          <c:min val="4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30D9B0F-493B-4D52-88B0-F6130C0F0A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F2CBBAA-8F83-4AF5-87EC-242B54086F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2F82AF6-6F58-41F0-9EA2-9EBDD37CF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32608D4-74CF-4E35-AD28-F02604BA02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153A433-8057-4B31-895A-F80813BD9C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B57EBE9-04F4-4428-BF70-BD1CFF88C7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B881D8A-21EE-42A4-88A4-F9AE44C3F6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55C8E31-D555-4822-B97A-958A69F45D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4.4421</c:v>
                </c:pt>
                <c:pt idx="1">
                  <c:v>206.532</c:v>
                </c:pt>
                <c:pt idx="2">
                  <c:v>291.0402</c:v>
                </c:pt>
                <c:pt idx="3">
                  <c:v>591.1292</c:v>
                </c:pt>
                <c:pt idx="4">
                  <c:v>276.9916</c:v>
                </c:pt>
                <c:pt idx="5">
                  <c:v>84.5436</c:v>
                </c:pt>
                <c:pt idx="6">
                  <c:v>76.5351</c:v>
                </c:pt>
                <c:pt idx="7">
                  <c:v>556.0291</c:v>
                </c:pt>
              </c:numCache>
            </c:numRef>
          </c:xVal>
          <c:yVal>
            <c:numRef>
              <c:f>Sheet1!$B$2:$B$9</c:f>
              <c:numCache>
                <c:formatCode>General</c:formatCode>
                <c:ptCount val="8"/>
                <c:pt idx="0">
                  <c:v>1.089</c:v>
                </c:pt>
                <c:pt idx="1">
                  <c:v>0.746</c:v>
                </c:pt>
                <c:pt idx="2">
                  <c:v>1.977</c:v>
                </c:pt>
                <c:pt idx="3">
                  <c:v>4.114</c:v>
                </c:pt>
                <c:pt idx="4">
                  <c:v>3.877</c:v>
                </c:pt>
                <c:pt idx="5">
                  <c:v>0.396</c:v>
                </c:pt>
                <c:pt idx="6">
                  <c:v>0.378</c:v>
                </c:pt>
                <c:pt idx="7">
                  <c:v>4.057</c:v>
                </c:pt>
              </c:numCache>
            </c:numRef>
          </c:yVal>
          <c:bubbleSize>
            <c:numRef>
              <c:f>Sheet1!$C$2:$C$9</c:f>
              <c:numCache>
                <c:formatCode>General</c:formatCode>
                <c:ptCount val="8"/>
                <c:pt idx="0">
                  <c:v>120511653</c:v>
                </c:pt>
                <c:pt idx="1">
                  <c:v>97014272</c:v>
                </c:pt>
                <c:pt idx="2">
                  <c:v>28036189</c:v>
                </c:pt>
                <c:pt idx="3">
                  <c:v>25478849</c:v>
                </c:pt>
                <c:pt idx="4">
                  <c:v>22529666</c:v>
                </c:pt>
                <c:pt idx="5">
                  <c:v>13021060</c:v>
                </c:pt>
                <c:pt idx="6">
                  <c:v>8185349</c:v>
                </c:pt>
                <c:pt idx="7">
                  <c:v>377877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0"/>
          <c:min val="6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A06B055-6A82-4468-BF68-7D938A8BAB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9BB3B92-2222-44DD-891A-EE039448A0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0572D22-FD61-4190-A167-6916E8FCA1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3BE4030-B774-40E4-B675-4CBBE1F8D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741EDDC-ACAB-4E22-9D86-BDBC71406F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9339596-6D96-4928-9040-CA98F4B10F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692669A-74F8-4158-88A2-CEC216685B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DA83A3D-5D03-4300-8A13-E0D01E2883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95.692</c:v>
                </c:pt>
                <c:pt idx="1">
                  <c:v>460.6714</c:v>
                </c:pt>
                <c:pt idx="2">
                  <c:v>177.9471</c:v>
                </c:pt>
                <c:pt idx="3">
                  <c:v>495.5151</c:v>
                </c:pt>
                <c:pt idx="4">
                  <c:v>527.2492</c:v>
                </c:pt>
                <c:pt idx="5">
                  <c:v>346.1604</c:v>
                </c:pt>
              </c:numCache>
            </c:numRef>
          </c:xVal>
          <c:yVal>
            <c:numRef>
              <c:f>Sheet1!$B$2:$B$7</c:f>
              <c:numCache>
                <c:formatCode>General</c:formatCode>
                <c:ptCount val="6"/>
                <c:pt idx="0">
                  <c:v>1.667</c:v>
                </c:pt>
                <c:pt idx="1">
                  <c:v>0.73</c:v>
                </c:pt>
                <c:pt idx="2">
                  <c:v>1.228</c:v>
                </c:pt>
                <c:pt idx="3">
                  <c:v>17.944</c:v>
                </c:pt>
                <c:pt idx="4">
                  <c:v>0.785</c:v>
                </c:pt>
                <c:pt idx="5">
                  <c:v>0.0</c:v>
                </c:pt>
              </c:numCache>
            </c:numRef>
          </c:yVal>
          <c:bubbleSize>
            <c:numRef>
              <c:f>Sheet1!$C$2:$C$7</c:f>
              <c:numCache>
                <c:formatCode>General</c:formatCode>
                <c:ptCount val="6"/>
                <c:pt idx="0">
                  <c:v>370445</c:v>
                </c:pt>
                <c:pt idx="1">
                  <c:v>260740</c:v>
                </c:pt>
                <c:pt idx="2">
                  <c:v>238805</c:v>
                </c:pt>
                <c:pt idx="3">
                  <c:v>213567</c:v>
                </c:pt>
                <c:pt idx="4">
                  <c:v>165029</c:v>
                </c:pt>
                <c:pt idx="5">
                  <c:v>6473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33.0"/>
          <c:min val="14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1B25D32-1A10-4C30-B2CB-22D10B992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FF6CA6F-C89A-44D8-BA4F-D59D601F9D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EBB60DF-BD68-489D-9B91-20A212110C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7125355-82BE-4465-A577-C59A1DAD60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D3017AC-2750-449A-9ED9-E425026AC1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8A0EC65-6C99-4FA4-8F35-FD9B62E737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1E3C9C0-2E9D-4E67-B5B8-721DD6AA27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939FCD8-9F71-4289-92ED-0B6A1CA53D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61.0395</c:v>
                </c:pt>
                <c:pt idx="1">
                  <c:v>245.2314</c:v>
                </c:pt>
                <c:pt idx="2">
                  <c:v>137.2075</c:v>
                </c:pt>
                <c:pt idx="3">
                  <c:v>329.1149</c:v>
                </c:pt>
              </c:numCache>
            </c:numRef>
          </c:xVal>
          <c:yVal>
            <c:numRef>
              <c:f>Sheet1!$B$2:$B$5</c:f>
              <c:numCache>
                <c:formatCode>General</c:formatCode>
                <c:ptCount val="4"/>
                <c:pt idx="0">
                  <c:v>1.025</c:v>
                </c:pt>
                <c:pt idx="1">
                  <c:v>1.145</c:v>
                </c:pt>
                <c:pt idx="2">
                  <c:v>0.865</c:v>
                </c:pt>
                <c:pt idx="3">
                  <c:v>1.305</c:v>
                </c:pt>
              </c:numCache>
            </c:numRef>
          </c:yVal>
          <c:bubbleSize>
            <c:numRef>
              <c:f>Sheet1!$C$2:$C$5</c:f>
              <c:numCache>
                <c:formatCode>General</c:formatCode>
                <c:ptCount val="4"/>
                <c:pt idx="0">
                  <c:v>2844809</c:v>
                </c:pt>
                <c:pt idx="1">
                  <c:v>1015258</c:v>
                </c:pt>
                <c:pt idx="2">
                  <c:v>234076</c:v>
                </c:pt>
                <c:pt idx="3">
                  <c:v>7734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95.0"/>
          <c:min val="1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271F618-FACF-470A-8DA5-BF0B4C6431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49A16FD-4106-4F23-BD88-5F50B99DAB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EFFF0C9-C710-441F-8EBD-9D6B9D3905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82A586A-1A68-4060-886B-57F8C09B11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1163E10-B23D-4AF1-830A-01D569DB8F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3B77D2D-52B5-4551-B7F1-3F431CEF05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E68CF5C-6302-43C6-B4F4-CCC9F05F84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9F12CD6-17BE-4A4E-AB69-F34463AB17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51.5939</c:v>
                </c:pt>
                <c:pt idx="1">
                  <c:v>117.3258</c:v>
                </c:pt>
                <c:pt idx="2">
                  <c:v>54.3689</c:v>
                </c:pt>
              </c:numCache>
            </c:numRef>
          </c:xVal>
          <c:yVal>
            <c:numRef>
              <c:f>Sheet1!$B$2:$B$4</c:f>
              <c:numCache>
                <c:formatCode>General</c:formatCode>
                <c:ptCount val="3"/>
                <c:pt idx="0">
                  <c:v>0.991</c:v>
                </c:pt>
                <c:pt idx="1">
                  <c:v>1.079</c:v>
                </c:pt>
                <c:pt idx="2">
                  <c:v>0.421</c:v>
                </c:pt>
              </c:numCache>
            </c:numRef>
          </c:yVal>
          <c:bubbleSize>
            <c:numRef>
              <c:f>Sheet1!$C$2:$C$4</c:f>
              <c:numCache>
                <c:formatCode>General</c:formatCode>
                <c:ptCount val="3"/>
                <c:pt idx="0">
                  <c:v>3409347</c:v>
                </c:pt>
                <c:pt idx="1">
                  <c:v>903761</c:v>
                </c:pt>
                <c:pt idx="2">
                  <c:v>5349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2.0"/>
          <c:min val="4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DF20247-5386-4077-935B-4AD335C121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65AC9C9-1BD2-4661-93AB-D186FC3344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81A9F40-DDB4-4C83-9921-4602549582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11EC335-0357-4C22-BB5E-55F22CD957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A257279-BAC6-4232-AE99-13D7E20854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2EA992C-381D-4BD7-BD8A-238574289A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EDF70BE-FE5C-469D-87DA-A7E6486C0B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2BFAC7C-D80A-4A13-80FB-D17255BF71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6365</c:v>
                </c:pt>
                <c:pt idx="1">
                  <c:v>210.9269</c:v>
                </c:pt>
                <c:pt idx="2">
                  <c:v>229.2878</c:v>
                </c:pt>
                <c:pt idx="3">
                  <c:v>590.5508</c:v>
                </c:pt>
                <c:pt idx="4">
                  <c:v>290.1049</c:v>
                </c:pt>
                <c:pt idx="5">
                  <c:v>84.9806</c:v>
                </c:pt>
                <c:pt idx="6">
                  <c:v>592.2799</c:v>
                </c:pt>
                <c:pt idx="7">
                  <c:v>214.8602</c:v>
                </c:pt>
              </c:numCache>
            </c:numRef>
          </c:xVal>
          <c:yVal>
            <c:numRef>
              <c:f>Sheet1!$B$2:$B$9</c:f>
              <c:numCache>
                <c:formatCode>General</c:formatCode>
                <c:ptCount val="8"/>
                <c:pt idx="0">
                  <c:v>1.042</c:v>
                </c:pt>
                <c:pt idx="1">
                  <c:v>0.757</c:v>
                </c:pt>
                <c:pt idx="2">
                  <c:v>0.748</c:v>
                </c:pt>
                <c:pt idx="3">
                  <c:v>3.962</c:v>
                </c:pt>
                <c:pt idx="4">
                  <c:v>1.999</c:v>
                </c:pt>
                <c:pt idx="5">
                  <c:v>0.438</c:v>
                </c:pt>
                <c:pt idx="6">
                  <c:v>5.054</c:v>
                </c:pt>
                <c:pt idx="7">
                  <c:v>2.678</c:v>
                </c:pt>
              </c:numCache>
            </c:numRef>
          </c:yVal>
          <c:bubbleSize>
            <c:numRef>
              <c:f>Sheet1!$C$2:$C$9</c:f>
              <c:numCache>
                <c:formatCode>General</c:formatCode>
                <c:ptCount val="8"/>
                <c:pt idx="0">
                  <c:v>88331422</c:v>
                </c:pt>
                <c:pt idx="1">
                  <c:v>38701083</c:v>
                </c:pt>
                <c:pt idx="2">
                  <c:v>30962337</c:v>
                </c:pt>
                <c:pt idx="3">
                  <c:v>17830499</c:v>
                </c:pt>
                <c:pt idx="4">
                  <c:v>16158843</c:v>
                </c:pt>
                <c:pt idx="5">
                  <c:v>12462149</c:v>
                </c:pt>
                <c:pt idx="6">
                  <c:v>6878146</c:v>
                </c:pt>
                <c:pt idx="7">
                  <c:v>184564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1.0"/>
          <c:min val="68.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628E751-A6FE-4D5F-A55C-25D42EA427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6658C34-0401-4D82-8598-EDEE1FBEE1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3BC3962-3E8F-4E19-BD5B-59E551345D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79AF2ED-3E33-4597-91CC-DA648FE3DB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212D54F-C53E-48A7-8832-25D3F2469D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8EDB1CE-4A98-46FF-BDD4-2DF5CAEF7E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4550562-A769-4647-860E-D4A362FD33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BB911AA-B66F-4A57-B642-3ADCC4BB16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6.5734</c:v>
                </c:pt>
                <c:pt idx="1">
                  <c:v>199.815</c:v>
                </c:pt>
                <c:pt idx="2">
                  <c:v>552.8728</c:v>
                </c:pt>
                <c:pt idx="3">
                  <c:v>393.6325</c:v>
                </c:pt>
                <c:pt idx="4">
                  <c:v>293.068</c:v>
                </c:pt>
                <c:pt idx="5">
                  <c:v>521.0262</c:v>
                </c:pt>
                <c:pt idx="6">
                  <c:v>83.2366</c:v>
                </c:pt>
                <c:pt idx="7">
                  <c:v>493.8476</c:v>
                </c:pt>
              </c:numCache>
            </c:numRef>
          </c:xVal>
          <c:yVal>
            <c:numRef>
              <c:f>Sheet1!$B$2:$B$9</c:f>
              <c:numCache>
                <c:formatCode>General</c:formatCode>
                <c:ptCount val="8"/>
                <c:pt idx="0">
                  <c:v>1.007</c:v>
                </c:pt>
                <c:pt idx="1">
                  <c:v>0.607</c:v>
                </c:pt>
                <c:pt idx="2">
                  <c:v>3.38</c:v>
                </c:pt>
                <c:pt idx="3">
                  <c:v>3.486</c:v>
                </c:pt>
                <c:pt idx="4">
                  <c:v>1.676</c:v>
                </c:pt>
                <c:pt idx="5">
                  <c:v>3.233</c:v>
                </c:pt>
                <c:pt idx="6">
                  <c:v>0.332</c:v>
                </c:pt>
                <c:pt idx="7">
                  <c:v>4.018</c:v>
                </c:pt>
              </c:numCache>
            </c:numRef>
          </c:yVal>
          <c:bubbleSize>
            <c:numRef>
              <c:f>Sheet1!$C$2:$C$9</c:f>
              <c:numCache>
                <c:formatCode>General</c:formatCode>
                <c:ptCount val="8"/>
                <c:pt idx="0">
                  <c:v>89728880</c:v>
                </c:pt>
                <c:pt idx="1">
                  <c:v>65608065</c:v>
                </c:pt>
                <c:pt idx="2">
                  <c:v>38563986</c:v>
                </c:pt>
                <c:pt idx="3">
                  <c:v>34149588</c:v>
                </c:pt>
                <c:pt idx="4">
                  <c:v>19334577</c:v>
                </c:pt>
                <c:pt idx="5">
                  <c:v>10428339</c:v>
                </c:pt>
                <c:pt idx="6">
                  <c:v>9482901</c:v>
                </c:pt>
                <c:pt idx="7">
                  <c:v>4599203</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3.0"/>
          <c:min val="6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48EA27-3967-417E-9A5E-A1B290E25C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5E05AFE-DDCE-4F62-A145-E64CB064B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00E4ACE-5BD1-44C0-BDFD-BC2EFCE063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08871A8-D9D8-4536-B05A-D46AC60CA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DE35B27-1510-4991-85CE-6001011ECF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6E775F0-D719-4A30-81DD-E3AEEB24BE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244F132-33E6-44E7-9884-E03954938A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7B2BCEF-B996-4678-A3B1-D40C090C2F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2.0369</c:v>
                </c:pt>
                <c:pt idx="1">
                  <c:v>451.1489</c:v>
                </c:pt>
                <c:pt idx="2">
                  <c:v>397.2654</c:v>
                </c:pt>
                <c:pt idx="3">
                  <c:v>277.202</c:v>
                </c:pt>
                <c:pt idx="4">
                  <c:v>444.8215</c:v>
                </c:pt>
              </c:numCache>
            </c:numRef>
          </c:xVal>
          <c:yVal>
            <c:numRef>
              <c:f>Sheet1!$B$2:$B$6</c:f>
              <c:numCache>
                <c:formatCode>General</c:formatCode>
                <c:ptCount val="5"/>
                <c:pt idx="0">
                  <c:v>1.267</c:v>
                </c:pt>
                <c:pt idx="1">
                  <c:v>1.387</c:v>
                </c:pt>
                <c:pt idx="2">
                  <c:v>0.844</c:v>
                </c:pt>
                <c:pt idx="3">
                  <c:v>1.534</c:v>
                </c:pt>
                <c:pt idx="4">
                  <c:v>0.372</c:v>
                </c:pt>
              </c:numCache>
            </c:numRef>
          </c:yVal>
          <c:bubbleSize>
            <c:numRef>
              <c:f>Sheet1!$C$2:$C$6</c:f>
              <c:numCache>
                <c:formatCode>General</c:formatCode>
                <c:ptCount val="5"/>
                <c:pt idx="0">
                  <c:v>6732910</c:v>
                </c:pt>
                <c:pt idx="1">
                  <c:v>2807951</c:v>
                </c:pt>
                <c:pt idx="2">
                  <c:v>1196166</c:v>
                </c:pt>
                <c:pt idx="3">
                  <c:v>469303</c:v>
                </c:pt>
                <c:pt idx="4">
                  <c:v>36386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1.0"/>
          <c:min val="22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CB66C74-FB58-4096-AD73-C185F562CA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951B3AB-7112-4286-910D-2F8FCCFD4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C873EC2-AF03-4D1D-BBD8-560EAF7E0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E067A8D-D87C-4B4F-9E11-4D90DEB72F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D54007F-202A-4302-9AE3-4F0FFA6DC9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58FAE99-3EE6-41E6-A8E0-CC03AB97B6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B8AE88E-10C0-4DE6-98BD-BAE3CB3490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DBE4782-5D41-486E-A0A9-1BD2E9AD5F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27.6174</c:v>
                </c:pt>
                <c:pt idx="1">
                  <c:v>242.2634</c:v>
                </c:pt>
                <c:pt idx="2">
                  <c:v>685.8738</c:v>
                </c:pt>
              </c:numCache>
            </c:numRef>
          </c:xVal>
          <c:yVal>
            <c:numRef>
              <c:f>Sheet1!$B$2:$B$4</c:f>
              <c:numCache>
                <c:formatCode>General</c:formatCode>
                <c:ptCount val="3"/>
                <c:pt idx="0">
                  <c:v>0.927</c:v>
                </c:pt>
                <c:pt idx="1">
                  <c:v>1.175</c:v>
                </c:pt>
                <c:pt idx="2">
                  <c:v>3.523</c:v>
                </c:pt>
              </c:numCache>
            </c:numRef>
          </c:yVal>
          <c:bubbleSize>
            <c:numRef>
              <c:f>Sheet1!$C$2:$C$4</c:f>
              <c:numCache>
                <c:formatCode>General</c:formatCode>
                <c:ptCount val="3"/>
                <c:pt idx="0">
                  <c:v>1660469</c:v>
                </c:pt>
                <c:pt idx="1">
                  <c:v>462723</c:v>
                </c:pt>
                <c:pt idx="2">
                  <c:v>70645</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3.0"/>
          <c:min val="18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7377827-03D9-4818-BCC5-E741E69865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FF987D5-8BD8-4B7F-968D-C4CEC19E00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AAF8013-91E0-4AB6-A252-2D768057E2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FA32A4A-1764-453F-B5B3-8B44D20D42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F4D154F-79F9-4B3B-AAF0-1EA6D53FBD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F36EA71-AF9C-4266-AC0B-8DC81B8EE5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021704B-7E8B-4AE2-A9A1-3B88364D82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11479FA-7088-4480-9150-62D7CF5CB8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35.0952</c:v>
                </c:pt>
                <c:pt idx="1">
                  <c:v>108.1014</c:v>
                </c:pt>
                <c:pt idx="2">
                  <c:v>409.2717</c:v>
                </c:pt>
              </c:numCache>
            </c:numRef>
          </c:xVal>
          <c:yVal>
            <c:numRef>
              <c:f>Sheet1!$B$2:$B$4</c:f>
              <c:numCache>
                <c:formatCode>General</c:formatCode>
                <c:ptCount val="3"/>
                <c:pt idx="0">
                  <c:v>1.016</c:v>
                </c:pt>
                <c:pt idx="1">
                  <c:v>1.031</c:v>
                </c:pt>
                <c:pt idx="2">
                  <c:v>4.783</c:v>
                </c:pt>
              </c:numCache>
            </c:numRef>
          </c:yVal>
          <c:bubbleSize>
            <c:numRef>
              <c:f>Sheet1!$C$2:$C$4</c:f>
              <c:numCache>
                <c:formatCode>General</c:formatCode>
                <c:ptCount val="3"/>
                <c:pt idx="0">
                  <c:v>1606282</c:v>
                </c:pt>
                <c:pt idx="1">
                  <c:v>500077</c:v>
                </c:pt>
                <c:pt idx="2">
                  <c:v>37653</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1.0"/>
          <c:min val="8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611F1F-2F56-4139-A5EF-127E172629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4C2B2B-032E-47E7-B29C-0F30B5C0AC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98DDB8E-80DD-4443-AFD4-1895827F71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6AD0B5-CA44-477B-B4DA-2EE14BC945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B5CD03D-9C72-4264-986E-FEFC12BF95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E39C7BE-4584-4969-8BA3-6B94E0F701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3D3242A-D3BA-4D26-8192-9F24238CA8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A4F591F-2457-4E57-82B6-78F9B66F90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4.8029</c:v>
                </c:pt>
                <c:pt idx="1">
                  <c:v>222.4557</c:v>
                </c:pt>
                <c:pt idx="2">
                  <c:v>282.0527</c:v>
                </c:pt>
                <c:pt idx="3">
                  <c:v>87.3907</c:v>
                </c:pt>
                <c:pt idx="4">
                  <c:v>232.3272</c:v>
                </c:pt>
                <c:pt idx="5">
                  <c:v>79.2122</c:v>
                </c:pt>
                <c:pt idx="6">
                  <c:v>605.0969</c:v>
                </c:pt>
              </c:numCache>
            </c:numRef>
          </c:xVal>
          <c:yVal>
            <c:numRef>
              <c:f>Sheet1!$B$2:$B$8</c:f>
              <c:numCache>
                <c:formatCode>General</c:formatCode>
                <c:ptCount val="7"/>
                <c:pt idx="0">
                  <c:v>1.147</c:v>
                </c:pt>
                <c:pt idx="1">
                  <c:v>0.876</c:v>
                </c:pt>
                <c:pt idx="2">
                  <c:v>2.084</c:v>
                </c:pt>
                <c:pt idx="3">
                  <c:v>0.473</c:v>
                </c:pt>
                <c:pt idx="4">
                  <c:v>4.368</c:v>
                </c:pt>
                <c:pt idx="5">
                  <c:v>0.448</c:v>
                </c:pt>
                <c:pt idx="6">
                  <c:v>4.97</c:v>
                </c:pt>
              </c:numCache>
            </c:numRef>
          </c:yVal>
          <c:bubbleSize>
            <c:numRef>
              <c:f>Sheet1!$C$2:$C$8</c:f>
              <c:numCache>
                <c:formatCode>General</c:formatCode>
                <c:ptCount val="7"/>
                <c:pt idx="0">
                  <c:v>109092245</c:v>
                </c:pt>
                <c:pt idx="1">
                  <c:v>81952907</c:v>
                </c:pt>
                <c:pt idx="2">
                  <c:v>13126731</c:v>
                </c:pt>
                <c:pt idx="3">
                  <c:v>10154627</c:v>
                </c:pt>
                <c:pt idx="4">
                  <c:v>8143532</c:v>
                </c:pt>
                <c:pt idx="5">
                  <c:v>7336634</c:v>
                </c:pt>
                <c:pt idx="6">
                  <c:v>378609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6.0"/>
          <c:min val="6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591D5E6-DD09-421F-AF69-9C7B9F1903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965306-2A1F-4541-A417-1AE603C9A2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7259B8F-C786-4887-AAC5-5DAF837B2C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FD51381-0F8D-43A1-9E10-6355E02994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B960684-42EB-4053-AF2A-F69C5DD9EC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237D543-27E4-4673-86D9-4EFB1723BB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51395E6-1D2C-48D1-ABBA-AF30F91F0F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7EB068A-0CE5-497A-AA37-3166497019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55.5805</c:v>
                </c:pt>
                <c:pt idx="1">
                  <c:v>634.8955</c:v>
                </c:pt>
                <c:pt idx="2">
                  <c:v>206.268</c:v>
                </c:pt>
                <c:pt idx="3">
                  <c:v>616.3333</c:v>
                </c:pt>
                <c:pt idx="4">
                  <c:v>39.8793</c:v>
                </c:pt>
              </c:numCache>
            </c:numRef>
          </c:xVal>
          <c:yVal>
            <c:numRef>
              <c:f>Sheet1!$B$2:$B$6</c:f>
              <c:numCache>
                <c:formatCode>General</c:formatCode>
                <c:ptCount val="5"/>
                <c:pt idx="0">
                  <c:v>3.461</c:v>
                </c:pt>
                <c:pt idx="1">
                  <c:v>3.881</c:v>
                </c:pt>
                <c:pt idx="2">
                  <c:v>12.778</c:v>
                </c:pt>
                <c:pt idx="3">
                  <c:v>8.266</c:v>
                </c:pt>
                <c:pt idx="4">
                  <c:v>0.123</c:v>
                </c:pt>
              </c:numCache>
            </c:numRef>
          </c:yVal>
          <c:bubbleSize>
            <c:numRef>
              <c:f>Sheet1!$C$2:$C$6</c:f>
              <c:numCache>
                <c:formatCode>General</c:formatCode>
                <c:ptCount val="5"/>
                <c:pt idx="0">
                  <c:v>97549</c:v>
                </c:pt>
                <c:pt idx="1">
                  <c:v>85076</c:v>
                </c:pt>
                <c:pt idx="2">
                  <c:v>40016</c:v>
                </c:pt>
                <c:pt idx="3">
                  <c:v>25886</c:v>
                </c:pt>
                <c:pt idx="4">
                  <c:v>11565</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62.0"/>
          <c:min val="3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330606-AFD9-42AA-AB76-A2077A3E46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FA960CF-AD37-4652-8877-4C6B0D9ABD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44E89F2-4881-4B8E-BB7C-602CF07D12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C81DA9C-7A70-4F07-AF26-62360C419B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007EF54-47E4-4214-86B2-E5215CF144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AB9D211-2E27-4FF4-8D50-0BB184E561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FBC6131-7456-4AEE-9EAF-FEF9767650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EBD8C64-A8D8-4F49-A8E4-5F8C12A551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65.9536</c:v>
                </c:pt>
                <c:pt idx="1">
                  <c:v>242.6779</c:v>
                </c:pt>
                <c:pt idx="2">
                  <c:v>243.4812</c:v>
                </c:pt>
              </c:numCache>
            </c:numRef>
          </c:xVal>
          <c:yVal>
            <c:numRef>
              <c:f>Sheet1!$B$2:$B$4</c:f>
              <c:numCache>
                <c:formatCode>General</c:formatCode>
                <c:ptCount val="3"/>
                <c:pt idx="0">
                  <c:v>0.952</c:v>
                </c:pt>
                <c:pt idx="1">
                  <c:v>1.034</c:v>
                </c:pt>
                <c:pt idx="2">
                  <c:v>0.979</c:v>
                </c:pt>
              </c:numCache>
            </c:numRef>
          </c:yVal>
          <c:bubbleSize>
            <c:numRef>
              <c:f>Sheet1!$C$2:$C$4</c:f>
              <c:numCache>
                <c:formatCode>General</c:formatCode>
                <c:ptCount val="3"/>
                <c:pt idx="0">
                  <c:v>3306335</c:v>
                </c:pt>
                <c:pt idx="1">
                  <c:v>2876219</c:v>
                </c:pt>
                <c:pt idx="2">
                  <c:v>95322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9.0"/>
          <c:min val="19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6DA1CEE-726D-4461-918C-CC2B86D9C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5264958-51F1-4B67-A0B9-ACA08AE0C3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8D858D6-8EE9-43D6-A764-1D3DEBAC8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A4CEAAA-EE91-41EE-8AE0-7EB14D1208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BD4B8B5-DFEA-48E8-90BD-6D78B5CD0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E510D26-4067-4F3E-9D17-ABE2F5818E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1C50F2B-BF6E-4002-AC68-20E8269E7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C20FFD7-092F-49EE-BA28-21401950C2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44.1141</c:v>
                </c:pt>
                <c:pt idx="1">
                  <c:v>116.8264</c:v>
                </c:pt>
                <c:pt idx="2">
                  <c:v>213.8289</c:v>
                </c:pt>
                <c:pt idx="3">
                  <c:v>53.3908</c:v>
                </c:pt>
              </c:numCache>
            </c:numRef>
          </c:xVal>
          <c:yVal>
            <c:numRef>
              <c:f>Sheet1!$B$2:$B$5</c:f>
              <c:numCache>
                <c:formatCode>General</c:formatCode>
                <c:ptCount val="4"/>
                <c:pt idx="0">
                  <c:v>0.865</c:v>
                </c:pt>
                <c:pt idx="1">
                  <c:v>0.928</c:v>
                </c:pt>
                <c:pt idx="2">
                  <c:v>1.472</c:v>
                </c:pt>
                <c:pt idx="3">
                  <c:v>0.357</c:v>
                </c:pt>
              </c:numCache>
            </c:numRef>
          </c:yVal>
          <c:bubbleSize>
            <c:numRef>
              <c:f>Sheet1!$C$2:$C$5</c:f>
              <c:numCache>
                <c:formatCode>General</c:formatCode>
                <c:ptCount val="4"/>
                <c:pt idx="0">
                  <c:v>4165474</c:v>
                </c:pt>
                <c:pt idx="1">
                  <c:v>1124337</c:v>
                </c:pt>
                <c:pt idx="2">
                  <c:v>319888</c:v>
                </c:pt>
                <c:pt idx="3">
                  <c:v>13198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7.0"/>
          <c:min val="4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AF02627-A295-4C81-AFDF-270AADBC2F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74040EF-6E93-496D-A58F-6F9A67A5EF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A9238A1-CE4C-485F-97EF-28EB350B5B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F4B8F22-DACD-44CE-BC5A-1B57367F83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6C1D93C-C023-4D3C-B9FA-4111F1615D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7B39F99-9A02-4FAF-8297-F755270DA8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74D7132-2C58-415B-B174-0A3DBDC5BB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F847C07-4DEF-460D-B554-1C0582389A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2.4328</c:v>
                </c:pt>
                <c:pt idx="1">
                  <c:v>218.61</c:v>
                </c:pt>
                <c:pt idx="2">
                  <c:v>590.5508</c:v>
                </c:pt>
                <c:pt idx="3">
                  <c:v>309.1024</c:v>
                </c:pt>
                <c:pt idx="4">
                  <c:v>290.1049</c:v>
                </c:pt>
                <c:pt idx="5">
                  <c:v>84.9576</c:v>
                </c:pt>
                <c:pt idx="6">
                  <c:v>77.1557</c:v>
                </c:pt>
                <c:pt idx="7">
                  <c:v>555.5334</c:v>
                </c:pt>
              </c:numCache>
            </c:numRef>
          </c:xVal>
          <c:yVal>
            <c:numRef>
              <c:f>Sheet1!$B$2:$B$9</c:f>
              <c:numCache>
                <c:formatCode>General</c:formatCode>
                <c:ptCount val="8"/>
                <c:pt idx="0">
                  <c:v>1.106</c:v>
                </c:pt>
                <c:pt idx="1">
                  <c:v>0.767</c:v>
                </c:pt>
                <c:pt idx="2">
                  <c:v>3.962</c:v>
                </c:pt>
                <c:pt idx="3">
                  <c:v>4.253</c:v>
                </c:pt>
                <c:pt idx="4">
                  <c:v>1.999</c:v>
                </c:pt>
                <c:pt idx="5">
                  <c:v>0.438</c:v>
                </c:pt>
                <c:pt idx="6">
                  <c:v>0.392</c:v>
                </c:pt>
                <c:pt idx="7">
                  <c:v>4.384</c:v>
                </c:pt>
              </c:numCache>
            </c:numRef>
          </c:yVal>
          <c:bubbleSize>
            <c:numRef>
              <c:f>Sheet1!$C$2:$C$9</c:f>
              <c:numCache>
                <c:formatCode>General</c:formatCode>
                <c:ptCount val="8"/>
                <c:pt idx="0">
                  <c:v>95209568</c:v>
                </c:pt>
                <c:pt idx="1">
                  <c:v>71509069</c:v>
                </c:pt>
                <c:pt idx="2">
                  <c:v>17830499</c:v>
                </c:pt>
                <c:pt idx="3">
                  <c:v>16409939</c:v>
                </c:pt>
                <c:pt idx="4">
                  <c:v>16158843</c:v>
                </c:pt>
                <c:pt idx="5">
                  <c:v>12463870</c:v>
                </c:pt>
                <c:pt idx="6">
                  <c:v>6946792</c:v>
                </c:pt>
                <c:pt idx="7">
                  <c:v>353374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0"/>
          <c:min val="6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D1D6CCB-3508-4871-A122-A346B40BE7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5C8999E-B12C-46B1-A4F2-6D6E1E00BE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4212C39-EB3D-4CD2-AF74-AC1A594DB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F2960FE-2B5E-425E-B7DA-DF14730A11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F0197E2-B300-4B96-9F2D-52424071EC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6C8E76B-D0DD-4FB5-A757-B64B62D237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EB02697-AA57-4B70-8885-B58BC6EF8D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26C2BA9-8089-4FF2-85AF-20C2560C08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01.2742</c:v>
                </c:pt>
                <c:pt idx="1">
                  <c:v>462.5864</c:v>
                </c:pt>
                <c:pt idx="2">
                  <c:v>452.6424</c:v>
                </c:pt>
                <c:pt idx="3">
                  <c:v>534.2344</c:v>
                </c:pt>
                <c:pt idx="4">
                  <c:v>180.7875</c:v>
                </c:pt>
                <c:pt idx="5">
                  <c:v>325.4526</c:v>
                </c:pt>
              </c:numCache>
            </c:numRef>
          </c:xVal>
          <c:yVal>
            <c:numRef>
              <c:f>Sheet1!$B$2:$B$7</c:f>
              <c:numCache>
                <c:formatCode>General</c:formatCode>
                <c:ptCount val="6"/>
                <c:pt idx="0">
                  <c:v>1.292</c:v>
                </c:pt>
                <c:pt idx="1">
                  <c:v>2.533</c:v>
                </c:pt>
                <c:pt idx="2">
                  <c:v>0.967</c:v>
                </c:pt>
                <c:pt idx="3">
                  <c:v>0.509</c:v>
                </c:pt>
                <c:pt idx="4">
                  <c:v>0.888</c:v>
                </c:pt>
                <c:pt idx="5">
                  <c:v>6.408</c:v>
                </c:pt>
              </c:numCache>
            </c:numRef>
          </c:yVal>
          <c:bubbleSize>
            <c:numRef>
              <c:f>Sheet1!$C$2:$C$7</c:f>
              <c:numCache>
                <c:formatCode>General</c:formatCode>
                <c:ptCount val="6"/>
                <c:pt idx="0">
                  <c:v>845074</c:v>
                </c:pt>
                <c:pt idx="1">
                  <c:v>522260</c:v>
                </c:pt>
                <c:pt idx="2">
                  <c:v>273396</c:v>
                </c:pt>
                <c:pt idx="3">
                  <c:v>180037</c:v>
                </c:pt>
                <c:pt idx="4">
                  <c:v>141195</c:v>
                </c:pt>
                <c:pt idx="5">
                  <c:v>75505</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41.0"/>
          <c:min val="14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225D9953-C393-4687-81E1-69EB85EA0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E16CDEE6-3D45-4710-9A2D-043A087A5E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25CDF1BD-BF16-400C-A41A-BE7CC8921D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B994F3FB-5A50-4991-8897-39126899F2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C5AA84C5-4560-4362-9CE2-40DCC489B8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E31162F5-6275-49A9-8C18-8C2B830FF2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44D1B848-0FB5-4109-B7DC-521257F141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D3C9A5B2-7F94-4C7A-91F0-F43077B9B8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462.5864</c:v>
                </c:pt>
                <c:pt idx="1">
                  <c:v>311.356</c:v>
                </c:pt>
                <c:pt idx="2">
                  <c:v>358.8844</c:v>
                </c:pt>
                <c:pt idx="3">
                  <c:v>451.2712</c:v>
                </c:pt>
                <c:pt idx="4">
                  <c:v>534.2344</c:v>
                </c:pt>
                <c:pt idx="5">
                  <c:v>180.7875</c:v>
                </c:pt>
                <c:pt idx="6">
                  <c:v>325.4526</c:v>
                </c:pt>
                <c:pt idx="7">
                  <c:v>305.5</c:v>
                </c:pt>
              </c:numCache>
            </c:numRef>
          </c:xVal>
          <c:yVal>
            <c:numRef>
              <c:f>Sheet1!$B$2:$B$9</c:f>
              <c:numCache>
                <c:formatCode>General</c:formatCode>
                <c:ptCount val="8"/>
                <c:pt idx="0">
                  <c:v>2.533</c:v>
                </c:pt>
                <c:pt idx="1">
                  <c:v>2.942</c:v>
                </c:pt>
                <c:pt idx="2">
                  <c:v>0.722</c:v>
                </c:pt>
                <c:pt idx="3">
                  <c:v>1.027</c:v>
                </c:pt>
                <c:pt idx="4">
                  <c:v>0.509</c:v>
                </c:pt>
                <c:pt idx="5">
                  <c:v>0.888</c:v>
                </c:pt>
                <c:pt idx="6">
                  <c:v>6.408</c:v>
                </c:pt>
                <c:pt idx="7">
                  <c:v>0.0</c:v>
                </c:pt>
              </c:numCache>
            </c:numRef>
          </c:yVal>
          <c:bubbleSize>
            <c:numRef>
              <c:f>Sheet1!$C$2:$C$9</c:f>
              <c:numCache>
                <c:formatCode>General</c:formatCode>
                <c:ptCount val="8"/>
                <c:pt idx="0">
                  <c:v>522260</c:v>
                </c:pt>
                <c:pt idx="1">
                  <c:v>485404</c:v>
                </c:pt>
                <c:pt idx="2">
                  <c:v>276341</c:v>
                </c:pt>
                <c:pt idx="3">
                  <c:v>266250</c:v>
                </c:pt>
                <c:pt idx="4">
                  <c:v>180037</c:v>
                </c:pt>
                <c:pt idx="5">
                  <c:v>141195</c:v>
                </c:pt>
                <c:pt idx="6">
                  <c:v>75505</c:v>
                </c:pt>
                <c:pt idx="7">
                  <c:v>61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41.0"/>
          <c:min val="145.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C13BD4-6F28-4167-8881-56DBB2B515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A36C9B-275C-4840-A367-AF3E2944F5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FE573F4-6F59-4A0E-A719-AF9AA9F191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A4D864E-79CE-4F01-8947-814BBA9860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B34FE31-6FA6-4B06-8F39-F7E5D3B626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360945A-90B8-4E96-82C8-FB99A30B04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5536B81-61BF-4C18-8DB9-0989AC225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74A8FDE-8AB7-44CD-9EFD-6FEC8A0B90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56.8942</c:v>
                </c:pt>
                <c:pt idx="1">
                  <c:v>242.9085</c:v>
                </c:pt>
                <c:pt idx="2">
                  <c:v>250.8574</c:v>
                </c:pt>
                <c:pt idx="3">
                  <c:v>134.1218</c:v>
                </c:pt>
              </c:numCache>
            </c:numRef>
          </c:xVal>
          <c:yVal>
            <c:numRef>
              <c:f>Sheet1!$B$2:$B$5</c:f>
              <c:numCache>
                <c:formatCode>General</c:formatCode>
                <c:ptCount val="4"/>
                <c:pt idx="0">
                  <c:v>0.97</c:v>
                </c:pt>
                <c:pt idx="1">
                  <c:v>1.1</c:v>
                </c:pt>
                <c:pt idx="2">
                  <c:v>1.134</c:v>
                </c:pt>
                <c:pt idx="3">
                  <c:v>0.848</c:v>
                </c:pt>
              </c:numCache>
            </c:numRef>
          </c:yVal>
          <c:bubbleSize>
            <c:numRef>
              <c:f>Sheet1!$C$2:$C$5</c:f>
              <c:numCache>
                <c:formatCode>General</c:formatCode>
                <c:ptCount val="4"/>
                <c:pt idx="0">
                  <c:v>2795266</c:v>
                </c:pt>
                <c:pt idx="1">
                  <c:v>1290330</c:v>
                </c:pt>
                <c:pt idx="2">
                  <c:v>283218</c:v>
                </c:pt>
                <c:pt idx="3">
                  <c:v>9361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8.0"/>
          <c:min val="10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29C7A2F-82BA-49F7-9B50-4E74D4A9FD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35CCF2A-40BC-4180-98F0-4A0F24658C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9014153-C43E-4052-B398-3C3D2318EB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FDA2163-9B07-469E-AFEB-D6DA277FE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B3ED039-D5BA-48D8-94C4-F245E66AC6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E99F35C-D98E-46C9-A307-45C8A64EE6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94692FE-67CB-4E05-9DBB-2402D19CFD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778B7DB-16F8-4894-833C-CBCC63EA5A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50.373</c:v>
                </c:pt>
                <c:pt idx="1">
                  <c:v>114.5124</c:v>
                </c:pt>
                <c:pt idx="2">
                  <c:v>233.6888</c:v>
                </c:pt>
                <c:pt idx="3">
                  <c:v>46.7466</c:v>
                </c:pt>
              </c:numCache>
            </c:numRef>
          </c:xVal>
          <c:yVal>
            <c:numRef>
              <c:f>Sheet1!$B$2:$B$5</c:f>
              <c:numCache>
                <c:formatCode>General</c:formatCode>
                <c:ptCount val="4"/>
                <c:pt idx="0">
                  <c:v>0.969</c:v>
                </c:pt>
                <c:pt idx="1">
                  <c:v>1.021</c:v>
                </c:pt>
                <c:pt idx="2">
                  <c:v>2.227</c:v>
                </c:pt>
                <c:pt idx="3">
                  <c:v>0.354</c:v>
                </c:pt>
              </c:numCache>
            </c:numRef>
          </c:yVal>
          <c:bubbleSize>
            <c:numRef>
              <c:f>Sheet1!$C$2:$C$5</c:f>
              <c:numCache>
                <c:formatCode>General</c:formatCode>
                <c:ptCount val="4"/>
                <c:pt idx="0">
                  <c:v>2349728</c:v>
                </c:pt>
                <c:pt idx="1">
                  <c:v>647453</c:v>
                </c:pt>
                <c:pt idx="2">
                  <c:v>56319</c:v>
                </c:pt>
                <c:pt idx="3">
                  <c:v>448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0.0"/>
          <c:min val="3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E3C0957-73A9-495E-B360-8F57C8819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0B71A3C-0E7A-441F-847C-DE28BD6C54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2EC6E07-9922-4F2F-85FA-A7CD23531F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A2F08B1-EB1F-4687-AA9D-DFF7328F9C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08E0425-E08D-4361-88F9-05CE036BB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D391424-BD94-447C-81CC-662D592CE4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F1EDCC4-EE92-41A5-8713-E78BEC7244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A3B16B2-BCC3-46BA-BE12-554790875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28.286</c:v>
                </c:pt>
                <c:pt idx="1">
                  <c:v>257.11</c:v>
                </c:pt>
                <c:pt idx="2">
                  <c:v>587.347</c:v>
                </c:pt>
                <c:pt idx="3">
                  <c:v>296.9305</c:v>
                </c:pt>
                <c:pt idx="4">
                  <c:v>331.1146</c:v>
                </c:pt>
                <c:pt idx="5">
                  <c:v>85.8724</c:v>
                </c:pt>
                <c:pt idx="6">
                  <c:v>76.3016</c:v>
                </c:pt>
                <c:pt idx="7">
                  <c:v>541.5737</c:v>
                </c:pt>
              </c:numCache>
            </c:numRef>
          </c:xVal>
          <c:yVal>
            <c:numRef>
              <c:f>Sheet1!$B$2:$B$9</c:f>
              <c:numCache>
                <c:formatCode>General</c:formatCode>
                <c:ptCount val="8"/>
                <c:pt idx="0">
                  <c:v>0.798</c:v>
                </c:pt>
                <c:pt idx="1">
                  <c:v>1.122</c:v>
                </c:pt>
                <c:pt idx="2">
                  <c:v>3.894</c:v>
                </c:pt>
                <c:pt idx="3">
                  <c:v>2.143</c:v>
                </c:pt>
                <c:pt idx="4">
                  <c:v>4.291</c:v>
                </c:pt>
                <c:pt idx="5">
                  <c:v>0.411</c:v>
                </c:pt>
                <c:pt idx="6">
                  <c:v>0.391</c:v>
                </c:pt>
                <c:pt idx="7">
                  <c:v>4.423</c:v>
                </c:pt>
              </c:numCache>
            </c:numRef>
          </c:yVal>
          <c:bubbleSize>
            <c:numRef>
              <c:f>Sheet1!$C$2:$C$9</c:f>
              <c:numCache>
                <c:formatCode>General</c:formatCode>
                <c:ptCount val="8"/>
                <c:pt idx="0">
                  <c:v>84822614</c:v>
                </c:pt>
                <c:pt idx="1">
                  <c:v>76668160</c:v>
                </c:pt>
                <c:pt idx="2">
                  <c:v>16648350</c:v>
                </c:pt>
                <c:pt idx="3">
                  <c:v>15380108</c:v>
                </c:pt>
                <c:pt idx="4">
                  <c:v>15057105</c:v>
                </c:pt>
                <c:pt idx="5">
                  <c:v>11366756</c:v>
                </c:pt>
                <c:pt idx="6">
                  <c:v>5048116</c:v>
                </c:pt>
                <c:pt idx="7">
                  <c:v>384679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5.0"/>
          <c:min val="6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F57764-540C-4116-A4BD-114EB5D3E6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4B62573-FBFB-44E0-97DF-C375DF93F2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5279808-C8E1-4BE0-9F91-F1DAE14701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2D3E1A9-9218-483D-A8D6-01F2D652A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6FDC017-A20E-484F-970B-044DEFE7CD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3C1B48D-D56D-420E-A94D-4902F82AD7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73FC446-3F87-4D0A-AAD3-115C87E3C6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FD4F639-092B-4831-B2A2-93622B4476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07.8786</c:v>
                </c:pt>
                <c:pt idx="1">
                  <c:v>456.2046</c:v>
                </c:pt>
                <c:pt idx="2">
                  <c:v>468.3235</c:v>
                </c:pt>
                <c:pt idx="3">
                  <c:v>512.5045</c:v>
                </c:pt>
                <c:pt idx="4">
                  <c:v>151.001</c:v>
                </c:pt>
                <c:pt idx="5">
                  <c:v>337.0238</c:v>
                </c:pt>
              </c:numCache>
            </c:numRef>
          </c:xVal>
          <c:yVal>
            <c:numRef>
              <c:f>Sheet1!$B$2:$B$7</c:f>
              <c:numCache>
                <c:formatCode>General</c:formatCode>
                <c:ptCount val="6"/>
                <c:pt idx="0">
                  <c:v>1.149</c:v>
                </c:pt>
                <c:pt idx="1">
                  <c:v>1.755</c:v>
                </c:pt>
                <c:pt idx="2">
                  <c:v>1.113</c:v>
                </c:pt>
                <c:pt idx="3">
                  <c:v>0.467</c:v>
                </c:pt>
                <c:pt idx="4">
                  <c:v>0.711</c:v>
                </c:pt>
                <c:pt idx="5">
                  <c:v>7.046</c:v>
                </c:pt>
              </c:numCache>
            </c:numRef>
          </c:yVal>
          <c:bubbleSize>
            <c:numRef>
              <c:f>Sheet1!$C$2:$C$7</c:f>
              <c:numCache>
                <c:formatCode>General</c:formatCode>
                <c:ptCount val="6"/>
                <c:pt idx="0">
                  <c:v>1128683</c:v>
                </c:pt>
                <c:pt idx="1">
                  <c:v>697993</c:v>
                </c:pt>
                <c:pt idx="2">
                  <c:v>348901</c:v>
                </c:pt>
                <c:pt idx="3">
                  <c:v>171689</c:v>
                </c:pt>
                <c:pt idx="4">
                  <c:v>154323</c:v>
                </c:pt>
                <c:pt idx="5">
                  <c:v>849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15.0"/>
          <c:min val="12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9C21080-36FC-4D84-B7E2-53591F2D53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AB4E61C-E751-4EA1-AE7A-2DF5DBAF27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720AD84-3857-48FD-8A0C-F62E3751BC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BD07320-299B-4CF4-ACCC-A574CF9BD8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BEDAB5B-5ACB-437A-90DA-797701516B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C0767EC-4116-40B3-8D62-0D85C03B20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2AA8DD0-3810-4C58-87CC-09C2E1EFC4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305B99C-D3DC-43C4-A4BA-7B69823BF7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58.8211</c:v>
                </c:pt>
                <c:pt idx="1">
                  <c:v>249.026</c:v>
                </c:pt>
                <c:pt idx="2">
                  <c:v>132.2308</c:v>
                </c:pt>
                <c:pt idx="3">
                  <c:v>320.8378</c:v>
                </c:pt>
              </c:numCache>
            </c:numRef>
          </c:xVal>
          <c:yVal>
            <c:numRef>
              <c:f>Sheet1!$B$2:$B$5</c:f>
              <c:numCache>
                <c:formatCode>General</c:formatCode>
                <c:ptCount val="4"/>
                <c:pt idx="0">
                  <c:v>1.003</c:v>
                </c:pt>
                <c:pt idx="1">
                  <c:v>1.15</c:v>
                </c:pt>
                <c:pt idx="2">
                  <c:v>0.835</c:v>
                </c:pt>
                <c:pt idx="3">
                  <c:v>1.291</c:v>
                </c:pt>
              </c:numCache>
            </c:numRef>
          </c:yVal>
          <c:bubbleSize>
            <c:numRef>
              <c:f>Sheet1!$C$2:$C$5</c:f>
              <c:numCache>
                <c:formatCode>General</c:formatCode>
                <c:ptCount val="4"/>
                <c:pt idx="0">
                  <c:v>3408674</c:v>
                </c:pt>
                <c:pt idx="1">
                  <c:v>1255340</c:v>
                </c:pt>
                <c:pt idx="2">
                  <c:v>179305</c:v>
                </c:pt>
                <c:pt idx="3">
                  <c:v>59355</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85.0"/>
          <c:min val="10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AC2901-A393-4153-9D40-F61E24D7FE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06BF1A5-D999-4241-B5A5-FDA941073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9F9D451-23F0-426A-8F97-AEE573E7D2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88C2EA8-0F2F-41FA-8090-85B9674722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231E6E6-FA3C-498E-8717-3EFFA83F78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58C7985-2443-4CE8-984E-5FFA025A53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CEBAC6B-502E-4C5A-AFA7-9B3DEEC222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265ECF9-5E4E-485B-8F57-666EA06089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50.8426</c:v>
                </c:pt>
                <c:pt idx="1">
                  <c:v>116.2015</c:v>
                </c:pt>
              </c:numCache>
            </c:numRef>
          </c:xVal>
          <c:yVal>
            <c:numRef>
              <c:f>Sheet1!$B$2:$B$3</c:f>
              <c:numCache>
                <c:formatCode>General</c:formatCode>
                <c:ptCount val="2"/>
                <c:pt idx="0">
                  <c:v>0.991</c:v>
                </c:pt>
                <c:pt idx="1">
                  <c:v>1.042</c:v>
                </c:pt>
              </c:numCache>
            </c:numRef>
          </c:yVal>
          <c:bubbleSize>
            <c:numRef>
              <c:f>Sheet1!$C$2:$C$3</c:f>
              <c:numCache>
                <c:formatCode>General</c:formatCode>
                <c:ptCount val="2"/>
                <c:pt idx="0">
                  <c:v>3018361</c:v>
                </c:pt>
                <c:pt idx="1">
                  <c:v>69302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1.0"/>
          <c:min val="9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100D2D3-3B0E-4063-B7AF-12EA259695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F3C9554-5B9E-46B1-A534-4C79F5A7BA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2C7FD34-774D-4C16-8E85-5532E2B42A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F924831-E580-444A-87CC-563F305B0C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352DBF9-2DE2-47A2-BAD6-82E508979C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C879FEE-A7F2-458E-9958-1527D04555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9836CA8-8E19-436E-8596-49B0A710CE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1F61B1B-0288-46C0-88DF-937872C1AB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7.9672</c:v>
                </c:pt>
                <c:pt idx="1">
                  <c:v>231.5509</c:v>
                </c:pt>
                <c:pt idx="2">
                  <c:v>295.5479</c:v>
                </c:pt>
                <c:pt idx="3">
                  <c:v>288.7922</c:v>
                </c:pt>
                <c:pt idx="4">
                  <c:v>600.3644</c:v>
                </c:pt>
                <c:pt idx="5">
                  <c:v>80.916</c:v>
                </c:pt>
              </c:numCache>
            </c:numRef>
          </c:xVal>
          <c:yVal>
            <c:numRef>
              <c:f>Sheet1!$B$2:$B$7</c:f>
              <c:numCache>
                <c:formatCode>General</c:formatCode>
                <c:ptCount val="6"/>
                <c:pt idx="0">
                  <c:v>1.122</c:v>
                </c:pt>
                <c:pt idx="1">
                  <c:v>0.827</c:v>
                </c:pt>
                <c:pt idx="2">
                  <c:v>2.131</c:v>
                </c:pt>
                <c:pt idx="3">
                  <c:v>4.309</c:v>
                </c:pt>
                <c:pt idx="4">
                  <c:v>4.408</c:v>
                </c:pt>
                <c:pt idx="5">
                  <c:v>0.422</c:v>
                </c:pt>
              </c:numCache>
            </c:numRef>
          </c:yVal>
          <c:bubbleSize>
            <c:numRef>
              <c:f>Sheet1!$C$2:$C$7</c:f>
              <c:numCache>
                <c:formatCode>General</c:formatCode>
                <c:ptCount val="6"/>
                <c:pt idx="0">
                  <c:v>71449519</c:v>
                </c:pt>
                <c:pt idx="1">
                  <c:v>63321061</c:v>
                </c:pt>
                <c:pt idx="2">
                  <c:v>9309759</c:v>
                </c:pt>
                <c:pt idx="3">
                  <c:v>9238173</c:v>
                </c:pt>
                <c:pt idx="4">
                  <c:v>5824135</c:v>
                </c:pt>
                <c:pt idx="5">
                  <c:v>55080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0.0"/>
          <c:min val="6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50F52AC-3D90-4555-B52D-6E1A67BC1B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D77652-0603-48AE-9ED4-FC2FE2B8DD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3D5E16F-6287-4CAE-88ED-FFADBFEDD5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FB387C4-F9B8-461F-A17A-4EA7FBE5AD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B4C8D3B-B7CB-44DE-A5C3-C87A4DCC27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E3C08EC-E73C-47DE-B39C-1369CFA32B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025464C-394B-4F98-8410-6FD8A210A6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F45A874-6211-4349-8EC5-BEEB69BD34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59.9946</c:v>
                </c:pt>
                <c:pt idx="1">
                  <c:v>230.6143</c:v>
                </c:pt>
                <c:pt idx="2">
                  <c:v>474.0058</c:v>
                </c:pt>
                <c:pt idx="3">
                  <c:v>490.3613</c:v>
                </c:pt>
                <c:pt idx="4">
                  <c:v>149.6178</c:v>
                </c:pt>
                <c:pt idx="5">
                  <c:v>430.3</c:v>
                </c:pt>
                <c:pt idx="6">
                  <c:v>509.3684</c:v>
                </c:pt>
                <c:pt idx="7">
                  <c:v>41.2629</c:v>
                </c:pt>
              </c:numCache>
            </c:numRef>
          </c:xVal>
          <c:yVal>
            <c:numRef>
              <c:f>Sheet1!$B$2:$B$9</c:f>
              <c:numCache>
                <c:formatCode>General</c:formatCode>
                <c:ptCount val="8"/>
                <c:pt idx="0">
                  <c:v>0.946</c:v>
                </c:pt>
                <c:pt idx="1">
                  <c:v>2.665</c:v>
                </c:pt>
                <c:pt idx="2">
                  <c:v>1.151</c:v>
                </c:pt>
                <c:pt idx="3">
                  <c:v>0.0</c:v>
                </c:pt>
                <c:pt idx="4">
                  <c:v>2.001</c:v>
                </c:pt>
                <c:pt idx="5">
                  <c:v>0.0</c:v>
                </c:pt>
                <c:pt idx="6">
                  <c:v>0.353</c:v>
                </c:pt>
                <c:pt idx="7">
                  <c:v>0.053</c:v>
                </c:pt>
              </c:numCache>
            </c:numRef>
          </c:yVal>
          <c:bubbleSize>
            <c:numRef>
              <c:f>Sheet1!$C$2:$C$9</c:f>
              <c:numCache>
                <c:formatCode>General</c:formatCode>
                <c:ptCount val="8"/>
                <c:pt idx="0">
                  <c:v>103599</c:v>
                </c:pt>
                <c:pt idx="1">
                  <c:v>93860</c:v>
                </c:pt>
                <c:pt idx="2">
                  <c:v>81055</c:v>
                </c:pt>
                <c:pt idx="3">
                  <c:v>58353</c:v>
                </c:pt>
                <c:pt idx="4">
                  <c:v>23490</c:v>
                </c:pt>
                <c:pt idx="5">
                  <c:v>12909</c:v>
                </c:pt>
                <c:pt idx="6">
                  <c:v>9678</c:v>
                </c:pt>
                <c:pt idx="7">
                  <c:v>722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72.0"/>
          <c:min val="3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ACA1A50-88CB-4178-A585-217FF17A0C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1498575-2A98-49F6-A280-94991A9DE7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486CAFC-27CF-4766-88BC-1F4D239BE9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00365AD-10A8-487A-AD6E-90E5CC977A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E15675-A6D8-4C89-9C7F-AAADAB9467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78EF8B1-FF2B-4468-9130-D7E9F94EBD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2264190-72D5-4DD5-8690-0073D2DE0A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4937332-1C52-4327-ABE6-3AD84491C0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54.1341</c:v>
                </c:pt>
                <c:pt idx="1">
                  <c:v>250.9359</c:v>
                </c:pt>
                <c:pt idx="2">
                  <c:v>270.0962</c:v>
                </c:pt>
              </c:numCache>
            </c:numRef>
          </c:xVal>
          <c:yVal>
            <c:numRef>
              <c:f>Sheet1!$B$2:$B$4</c:f>
              <c:numCache>
                <c:formatCode>General</c:formatCode>
                <c:ptCount val="3"/>
                <c:pt idx="0">
                  <c:v>0.943</c:v>
                </c:pt>
                <c:pt idx="1">
                  <c:v>1.105</c:v>
                </c:pt>
                <c:pt idx="2">
                  <c:v>1.362</c:v>
                </c:pt>
              </c:numCache>
            </c:numRef>
          </c:yVal>
          <c:bubbleSize>
            <c:numRef>
              <c:f>Sheet1!$C$2:$C$4</c:f>
              <c:numCache>
                <c:formatCode>General</c:formatCode>
                <c:ptCount val="3"/>
                <c:pt idx="0">
                  <c:v>2118462</c:v>
                </c:pt>
                <c:pt idx="1">
                  <c:v>1323185</c:v>
                </c:pt>
                <c:pt idx="2">
                  <c:v>14315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4.0"/>
          <c:min val="20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6530A7A-5F22-4914-87F9-E7CCD11E1D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E3D8FAD-34AE-4232-A610-E01E2A48EB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9DD9665-9863-49FD-BB74-441257BD70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6FD0DCA-6F72-4DD2-8502-ACFDFEC263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305775A-180F-4FE9-8A31-AFB887A4BD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81C5A7D-8E70-4929-81A3-BB934F2145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8B7C015-BD1B-4F37-A387-71B39146D0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3CA9DEC-163D-4670-ACCA-233C779F3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53.2166</c:v>
                </c:pt>
                <c:pt idx="1">
                  <c:v>112.9348</c:v>
                </c:pt>
                <c:pt idx="2">
                  <c:v>250.0581</c:v>
                </c:pt>
              </c:numCache>
            </c:numRef>
          </c:xVal>
          <c:yVal>
            <c:numRef>
              <c:f>Sheet1!$B$2:$B$4</c:f>
              <c:numCache>
                <c:formatCode>General</c:formatCode>
                <c:ptCount val="3"/>
                <c:pt idx="0">
                  <c:v>0.952</c:v>
                </c:pt>
                <c:pt idx="1">
                  <c:v>0.974</c:v>
                </c:pt>
                <c:pt idx="2">
                  <c:v>3.034</c:v>
                </c:pt>
              </c:numCache>
            </c:numRef>
          </c:yVal>
          <c:bubbleSize>
            <c:numRef>
              <c:f>Sheet1!$C$2:$C$4</c:f>
              <c:numCache>
                <c:formatCode>General</c:formatCode>
                <c:ptCount val="3"/>
                <c:pt idx="0">
                  <c:v>2118833</c:v>
                </c:pt>
                <c:pt idx="1">
                  <c:v>567949</c:v>
                </c:pt>
                <c:pt idx="2">
                  <c:v>3875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0.0"/>
          <c:min val="9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77ACD54D-98EB-44B1-A40E-039558397D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11F5A169-3F8B-4C80-BE7C-96585344DF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42D6D121-8A7B-4ED3-8197-BD8F2306C9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06586047-83BD-4909-83C8-303C5BBDB7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1699F457-2FD6-49E4-A0B9-53BB11A37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ADB1EE14-D4FF-4F19-9285-5D460AECD9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CE818974-5E2F-4CBE-9C2F-DCF0BAEDF4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7718570B-796C-475E-9DBA-71DEEEEA5E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63.8118</c:v>
                </c:pt>
                <c:pt idx="1">
                  <c:v>242.9085</c:v>
                </c:pt>
                <c:pt idx="2">
                  <c:v>225.251</c:v>
                </c:pt>
                <c:pt idx="3">
                  <c:v>250.8574</c:v>
                </c:pt>
                <c:pt idx="4">
                  <c:v>134.1218</c:v>
                </c:pt>
              </c:numCache>
            </c:numRef>
          </c:xVal>
          <c:yVal>
            <c:numRef>
              <c:f>Sheet1!$B$2:$B$6</c:f>
              <c:numCache>
                <c:formatCode>General</c:formatCode>
                <c:ptCount val="5"/>
                <c:pt idx="0">
                  <c:v>0.996</c:v>
                </c:pt>
                <c:pt idx="1">
                  <c:v>1.1</c:v>
                </c:pt>
                <c:pt idx="2">
                  <c:v>0.852</c:v>
                </c:pt>
                <c:pt idx="3">
                  <c:v>1.134</c:v>
                </c:pt>
                <c:pt idx="4">
                  <c:v>0.848</c:v>
                </c:pt>
              </c:numCache>
            </c:numRef>
          </c:yVal>
          <c:bubbleSize>
            <c:numRef>
              <c:f>Sheet1!$C$2:$C$6</c:f>
              <c:numCache>
                <c:formatCode>General</c:formatCode>
                <c:ptCount val="5"/>
                <c:pt idx="0">
                  <c:v>2355576</c:v>
                </c:pt>
                <c:pt idx="1">
                  <c:v>1290330</c:v>
                </c:pt>
                <c:pt idx="2">
                  <c:v>439690</c:v>
                </c:pt>
                <c:pt idx="3">
                  <c:v>283218</c:v>
                </c:pt>
                <c:pt idx="4">
                  <c:v>9361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7.0"/>
          <c:min val="107.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1A326B7-A1EF-4233-A69F-51CC734168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D2A08B2-55C3-48C1-9111-E0EA8FF286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F0065E6-7D0D-465B-BEB9-A69E7CC157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6489E5D-A37A-4917-BDD1-3AF43C08AE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31C4010-5BDB-4DB5-8E76-ED79D5781E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B88E3C8-15A6-461B-BF7D-118C6A8806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3EB89F0-1732-4C8B-98BF-3C1765D4C2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37B5E70-3D0B-4B13-B77A-6796297F6F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3.1869</c:v>
                </c:pt>
                <c:pt idx="1">
                  <c:v>215.1247</c:v>
                </c:pt>
                <c:pt idx="2">
                  <c:v>576.4046</c:v>
                </c:pt>
                <c:pt idx="3">
                  <c:v>311.1636</c:v>
                </c:pt>
                <c:pt idx="4">
                  <c:v>291.3579</c:v>
                </c:pt>
                <c:pt idx="5">
                  <c:v>87.371</c:v>
                </c:pt>
                <c:pt idx="6">
                  <c:v>76.913</c:v>
                </c:pt>
                <c:pt idx="7">
                  <c:v>536.3908</c:v>
                </c:pt>
              </c:numCache>
            </c:numRef>
          </c:xVal>
          <c:yVal>
            <c:numRef>
              <c:f>Sheet1!$B$2:$B$9</c:f>
              <c:numCache>
                <c:formatCode>General</c:formatCode>
                <c:ptCount val="8"/>
                <c:pt idx="0">
                  <c:v>1.073</c:v>
                </c:pt>
                <c:pt idx="1">
                  <c:v>0.734</c:v>
                </c:pt>
                <c:pt idx="2">
                  <c:v>3.888</c:v>
                </c:pt>
                <c:pt idx="3">
                  <c:v>4.024</c:v>
                </c:pt>
                <c:pt idx="4">
                  <c:v>1.913</c:v>
                </c:pt>
                <c:pt idx="5">
                  <c:v>0.406</c:v>
                </c:pt>
                <c:pt idx="6">
                  <c:v>0.369</c:v>
                </c:pt>
                <c:pt idx="7">
                  <c:v>4.432</c:v>
                </c:pt>
              </c:numCache>
            </c:numRef>
          </c:yVal>
          <c:bubbleSize>
            <c:numRef>
              <c:f>Sheet1!$C$2:$C$9</c:f>
              <c:numCache>
                <c:formatCode>General</c:formatCode>
                <c:ptCount val="8"/>
                <c:pt idx="0">
                  <c:v>500098862</c:v>
                </c:pt>
                <c:pt idx="1">
                  <c:v>421593874</c:v>
                </c:pt>
                <c:pt idx="2">
                  <c:v>105220346</c:v>
                </c:pt>
                <c:pt idx="3">
                  <c:v>102092450</c:v>
                </c:pt>
                <c:pt idx="4">
                  <c:v>101346207</c:v>
                </c:pt>
                <c:pt idx="5">
                  <c:v>48851663</c:v>
                </c:pt>
                <c:pt idx="6">
                  <c:v>25840986</c:v>
                </c:pt>
                <c:pt idx="7">
                  <c:v>2196144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2.0"/>
          <c:min val="6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CDF7BD-132E-421B-A2E0-D68A925BEA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A78789F-D37A-454F-8487-F7451A91D0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D23FBA4-5E96-443C-B896-BE554ED8DF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C34B6F9-A005-45D4-ADA3-B9C206E7B2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5BA1446-424C-4F45-9AB8-E959F09499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554FF56-D04C-4C75-9D1D-DD7D3021D1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4C30772-3968-47C0-9470-9EC8591EC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C6D7533-3462-4781-9E17-AFB7048E9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606.0708</c:v>
                </c:pt>
                <c:pt idx="1">
                  <c:v>247.9599</c:v>
                </c:pt>
                <c:pt idx="2">
                  <c:v>459.3015</c:v>
                </c:pt>
                <c:pt idx="3">
                  <c:v>476.9653</c:v>
                </c:pt>
                <c:pt idx="4">
                  <c:v>336.3607</c:v>
                </c:pt>
              </c:numCache>
            </c:numRef>
          </c:xVal>
          <c:yVal>
            <c:numRef>
              <c:f>Sheet1!$B$2:$B$6</c:f>
              <c:numCache>
                <c:formatCode>General</c:formatCode>
                <c:ptCount val="5"/>
                <c:pt idx="0">
                  <c:v>3.089</c:v>
                </c:pt>
                <c:pt idx="1">
                  <c:v>0.585</c:v>
                </c:pt>
                <c:pt idx="2">
                  <c:v>2.243</c:v>
                </c:pt>
                <c:pt idx="3">
                  <c:v>6.548</c:v>
                </c:pt>
                <c:pt idx="4">
                  <c:v>5.226</c:v>
                </c:pt>
              </c:numCache>
            </c:numRef>
          </c:yVal>
          <c:bubbleSize>
            <c:numRef>
              <c:f>Sheet1!$C$2:$C$6</c:f>
              <c:numCache>
                <c:formatCode>General</c:formatCode>
                <c:ptCount val="5"/>
                <c:pt idx="0">
                  <c:v>2911564</c:v>
                </c:pt>
                <c:pt idx="1">
                  <c:v>1713899</c:v>
                </c:pt>
                <c:pt idx="2">
                  <c:v>953510</c:v>
                </c:pt>
                <c:pt idx="3">
                  <c:v>741204</c:v>
                </c:pt>
                <c:pt idx="4">
                  <c:v>22939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7.0"/>
          <c:min val="19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146550E-E847-4EAC-861C-42B41B7CB3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E2CCAE9-2E9C-488A-8929-E4895782EB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F8D823D-2861-4242-A145-B33D42150C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DE9C842-6962-4F30-A8FF-1B1FCEE092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357CD9D-6FA5-466B-A9B4-F8A17E0A1E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3D0D375-A3F3-4BCB-AA06-2D7121525F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767B766-230F-46AD-8EAC-2239EC28E1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3011124-D6C0-4850-ABAB-D98DD56D18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56.2413</c:v>
                </c:pt>
                <c:pt idx="1">
                  <c:v>237.9996</c:v>
                </c:pt>
                <c:pt idx="2">
                  <c:v>76.3577</c:v>
                </c:pt>
                <c:pt idx="3">
                  <c:v>77.0793</c:v>
                </c:pt>
                <c:pt idx="4">
                  <c:v>666.4232</c:v>
                </c:pt>
                <c:pt idx="5">
                  <c:v>577.5587</c:v>
                </c:pt>
              </c:numCache>
            </c:numRef>
          </c:xVal>
          <c:yVal>
            <c:numRef>
              <c:f>Sheet1!$B$2:$B$7</c:f>
              <c:numCache>
                <c:formatCode>General</c:formatCode>
                <c:ptCount val="6"/>
                <c:pt idx="0">
                  <c:v>1.297</c:v>
                </c:pt>
                <c:pt idx="1">
                  <c:v>1.065</c:v>
                </c:pt>
                <c:pt idx="2">
                  <c:v>0.521</c:v>
                </c:pt>
                <c:pt idx="3">
                  <c:v>0.543</c:v>
                </c:pt>
                <c:pt idx="4">
                  <c:v>3.181</c:v>
                </c:pt>
                <c:pt idx="5">
                  <c:v>2.615</c:v>
                </c:pt>
              </c:numCache>
            </c:numRef>
          </c:yVal>
          <c:bubbleSize>
            <c:numRef>
              <c:f>Sheet1!$C$2:$C$7</c:f>
              <c:numCache>
                <c:formatCode>General</c:formatCode>
                <c:ptCount val="6"/>
                <c:pt idx="0">
                  <c:v>62561047</c:v>
                </c:pt>
                <c:pt idx="1">
                  <c:v>40920215</c:v>
                </c:pt>
                <c:pt idx="2">
                  <c:v>13145581</c:v>
                </c:pt>
                <c:pt idx="3">
                  <c:v>7051989</c:v>
                </c:pt>
                <c:pt idx="4">
                  <c:v>2694349</c:v>
                </c:pt>
                <c:pt idx="5">
                  <c:v>18193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00.0"/>
          <c:min val="6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7B6C096-05D7-424A-8821-264A9C5522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1CEA7F3-1C97-4B21-A89B-8364C5C0B3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4EE3044-9C2D-4343-8161-8F60A42C50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14C477E-602E-41B1-B91B-EB93DCE7AB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A27335B-C309-4247-BB07-F1CDDDD07B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F349640-EB4A-4179-98BF-F198FFAA63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085F9E6-D196-4D53-ADCB-576D5B3A07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B2B6DBF-65F7-4A47-BB84-8B0C9BF806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3.5318</c:v>
                </c:pt>
                <c:pt idx="1">
                  <c:v>204.2766</c:v>
                </c:pt>
                <c:pt idx="2">
                  <c:v>291.0402</c:v>
                </c:pt>
                <c:pt idx="3">
                  <c:v>590.7656</c:v>
                </c:pt>
                <c:pt idx="4">
                  <c:v>272.937</c:v>
                </c:pt>
                <c:pt idx="5">
                  <c:v>87.4421</c:v>
                </c:pt>
                <c:pt idx="6">
                  <c:v>76.444</c:v>
                </c:pt>
                <c:pt idx="7">
                  <c:v>329.8653</c:v>
                </c:pt>
              </c:numCache>
            </c:numRef>
          </c:xVal>
          <c:yVal>
            <c:numRef>
              <c:f>Sheet1!$B$2:$B$9</c:f>
              <c:numCache>
                <c:formatCode>General</c:formatCode>
                <c:ptCount val="8"/>
                <c:pt idx="0">
                  <c:v>1.074</c:v>
                </c:pt>
                <c:pt idx="1">
                  <c:v>0.716</c:v>
                </c:pt>
                <c:pt idx="2">
                  <c:v>1.894</c:v>
                </c:pt>
                <c:pt idx="3">
                  <c:v>3.917</c:v>
                </c:pt>
                <c:pt idx="4">
                  <c:v>3.718</c:v>
                </c:pt>
                <c:pt idx="5">
                  <c:v>0.393</c:v>
                </c:pt>
                <c:pt idx="6">
                  <c:v>0.362</c:v>
                </c:pt>
                <c:pt idx="7">
                  <c:v>2.227</c:v>
                </c:pt>
              </c:numCache>
            </c:numRef>
          </c:yVal>
          <c:bubbleSize>
            <c:numRef>
              <c:f>Sheet1!$C$2:$C$9</c:f>
              <c:numCache>
                <c:formatCode>General</c:formatCode>
                <c:ptCount val="8"/>
                <c:pt idx="0">
                  <c:v>107220864</c:v>
                </c:pt>
                <c:pt idx="1">
                  <c:v>89234147</c:v>
                </c:pt>
                <c:pt idx="2">
                  <c:v>28036189</c:v>
                </c:pt>
                <c:pt idx="3">
                  <c:v>24994112</c:v>
                </c:pt>
                <c:pt idx="4">
                  <c:v>21977703</c:v>
                </c:pt>
                <c:pt idx="5">
                  <c:v>10334342</c:v>
                </c:pt>
                <c:pt idx="6">
                  <c:v>6507909</c:v>
                </c:pt>
                <c:pt idx="7">
                  <c:v>347480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0"/>
          <c:min val="6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41F71A7-6284-4861-AED3-620FC8217F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6D9E746-7D4E-4094-8B86-6EBCC71DDE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59345E9-A4A2-4E58-95BA-E500A42891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31D45AA-68FD-484A-AF20-043D526B52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57E0BA0-0023-4398-B668-22B910597E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1FC0946-7636-445F-8EA1-A250B25D78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A716CDA-0017-4728-8043-A5F3CC6A23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B17D719-1947-44B5-8B32-0C3F23A68A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610.5</c:v>
                </c:pt>
                <c:pt idx="1">
                  <c:v>249.9434</c:v>
                </c:pt>
                <c:pt idx="2">
                  <c:v>504.2633</c:v>
                </c:pt>
                <c:pt idx="3">
                  <c:v>542.4038</c:v>
                </c:pt>
                <c:pt idx="4">
                  <c:v>852.3421</c:v>
                </c:pt>
              </c:numCache>
            </c:numRef>
          </c:xVal>
          <c:yVal>
            <c:numRef>
              <c:f>Sheet1!$B$2:$B$6</c:f>
              <c:numCache>
                <c:formatCode>General</c:formatCode>
                <c:ptCount val="5"/>
                <c:pt idx="0">
                  <c:v>4.59</c:v>
                </c:pt>
                <c:pt idx="1">
                  <c:v>0.631</c:v>
                </c:pt>
                <c:pt idx="2">
                  <c:v>2.9</c:v>
                </c:pt>
                <c:pt idx="3">
                  <c:v>10.905</c:v>
                </c:pt>
                <c:pt idx="4">
                  <c:v>0.0</c:v>
                </c:pt>
              </c:numCache>
            </c:numRef>
          </c:yVal>
          <c:bubbleSize>
            <c:numRef>
              <c:f>Sheet1!$C$2:$C$6</c:f>
              <c:numCache>
                <c:formatCode>General</c:formatCode>
                <c:ptCount val="5"/>
                <c:pt idx="0">
                  <c:v>484737</c:v>
                </c:pt>
                <c:pt idx="1">
                  <c:v>344172</c:v>
                </c:pt>
                <c:pt idx="2">
                  <c:v>237508</c:v>
                </c:pt>
                <c:pt idx="3">
                  <c:v>141025</c:v>
                </c:pt>
                <c:pt idx="4">
                  <c:v>3238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23.0"/>
          <c:min val="20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6DBA642-7913-403E-A596-8FB42F3900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672DB6A-1FB5-48F7-928F-EF72660736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1253354-5392-4003-9A99-7EAAAA4F45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D089FE5-6903-4666-923D-2F5B709785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524EF09-0EE3-4CF1-8572-732D82BFBD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4D6C558-7AEA-443A-A0E6-A42F2A5119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ADE3467-18A7-48C6-B3E3-27A3B723B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FFEC322-BCC5-4EA2-823C-6429B8BFB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62.032</c:v>
                </c:pt>
                <c:pt idx="1">
                  <c:v>235.8898</c:v>
                </c:pt>
                <c:pt idx="2">
                  <c:v>74.9831</c:v>
                </c:pt>
                <c:pt idx="3">
                  <c:v>76.8904</c:v>
                </c:pt>
                <c:pt idx="4">
                  <c:v>741.7653</c:v>
                </c:pt>
                <c:pt idx="5">
                  <c:v>569.5091</c:v>
                </c:pt>
              </c:numCache>
            </c:numRef>
          </c:xVal>
          <c:yVal>
            <c:numRef>
              <c:f>Sheet1!$B$2:$B$7</c:f>
              <c:numCache>
                <c:formatCode>General</c:formatCode>
                <c:ptCount val="6"/>
                <c:pt idx="0">
                  <c:v>1.31</c:v>
                </c:pt>
                <c:pt idx="1">
                  <c:v>1.074</c:v>
                </c:pt>
                <c:pt idx="2">
                  <c:v>0.516</c:v>
                </c:pt>
                <c:pt idx="3">
                  <c:v>0.556</c:v>
                </c:pt>
                <c:pt idx="4">
                  <c:v>4.395</c:v>
                </c:pt>
                <c:pt idx="5">
                  <c:v>2.529</c:v>
                </c:pt>
              </c:numCache>
            </c:numRef>
          </c:yVal>
          <c:bubbleSize>
            <c:numRef>
              <c:f>Sheet1!$C$2:$C$7</c:f>
              <c:numCache>
                <c:formatCode>General</c:formatCode>
                <c:ptCount val="6"/>
                <c:pt idx="0">
                  <c:v>13290789</c:v>
                </c:pt>
                <c:pt idx="1">
                  <c:v>7435953</c:v>
                </c:pt>
                <c:pt idx="2">
                  <c:v>2686718</c:v>
                </c:pt>
                <c:pt idx="3">
                  <c:v>1677440</c:v>
                </c:pt>
                <c:pt idx="4">
                  <c:v>410938</c:v>
                </c:pt>
                <c:pt idx="5">
                  <c:v>34341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0.0"/>
          <c:min val="6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B47675-008D-4794-9B01-BD90323577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642655E-4BAF-4316-B5C7-8022D37B14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1A3350C-78AF-4614-ADF3-D708F4510B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810BA74-C1EB-4FE7-92BB-B5BCD546C0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70EED88-AA43-4AE7-9EBA-067FB03222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715013A-FFA9-4ECD-8B21-EBECA44CDA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FDB102B-55C2-4BC3-B860-CBDEACFE69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1E2A199-6E23-4F68-9D2B-5B7BD818D8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6.8503</c:v>
                </c:pt>
                <c:pt idx="1">
                  <c:v>196.4014</c:v>
                </c:pt>
                <c:pt idx="2">
                  <c:v>551.7873</c:v>
                </c:pt>
                <c:pt idx="3">
                  <c:v>388.4686</c:v>
                </c:pt>
                <c:pt idx="4">
                  <c:v>293.068</c:v>
                </c:pt>
                <c:pt idx="5">
                  <c:v>518.843</c:v>
                </c:pt>
                <c:pt idx="6">
                  <c:v>86.3298</c:v>
                </c:pt>
                <c:pt idx="7">
                  <c:v>504.4169</c:v>
                </c:pt>
              </c:numCache>
            </c:numRef>
          </c:xVal>
          <c:yVal>
            <c:numRef>
              <c:f>Sheet1!$B$2:$B$9</c:f>
              <c:numCache>
                <c:formatCode>General</c:formatCode>
                <c:ptCount val="8"/>
                <c:pt idx="0">
                  <c:v>0.987</c:v>
                </c:pt>
                <c:pt idx="1">
                  <c:v>0.575</c:v>
                </c:pt>
                <c:pt idx="2">
                  <c:v>3.241</c:v>
                </c:pt>
                <c:pt idx="3">
                  <c:v>3.445</c:v>
                </c:pt>
                <c:pt idx="4">
                  <c:v>1.586</c:v>
                </c:pt>
                <c:pt idx="5">
                  <c:v>3.299</c:v>
                </c:pt>
                <c:pt idx="6">
                  <c:v>0.325</c:v>
                </c:pt>
                <c:pt idx="7">
                  <c:v>3.855</c:v>
                </c:pt>
              </c:numCache>
            </c:numRef>
          </c:yVal>
          <c:bubbleSize>
            <c:numRef>
              <c:f>Sheet1!$C$2:$C$9</c:f>
              <c:numCache>
                <c:formatCode>General</c:formatCode>
                <c:ptCount val="8"/>
                <c:pt idx="0">
                  <c:v>81000553</c:v>
                </c:pt>
                <c:pt idx="1">
                  <c:v>58894485</c:v>
                </c:pt>
                <c:pt idx="2">
                  <c:v>37358209</c:v>
                </c:pt>
                <c:pt idx="3">
                  <c:v>32737806</c:v>
                </c:pt>
                <c:pt idx="4">
                  <c:v>19334577</c:v>
                </c:pt>
                <c:pt idx="5">
                  <c:v>9894336</c:v>
                </c:pt>
                <c:pt idx="6">
                  <c:v>7526666</c:v>
                </c:pt>
                <c:pt idx="7">
                  <c:v>442121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2.0"/>
          <c:min val="6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996A0C4-F049-460E-A79E-CB06243DFE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1BD8FC1-24BE-4944-93CC-C7F3411DC3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C5B6E3C-8C1A-4435-A8DC-D3F2113281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E2A212C-95C9-44CA-B4FB-EFEC022C7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ACAA95A-7DDA-4CC4-B15E-D335145EE2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3CA59A5-606A-47CB-B937-962D7E56ED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F11F704-A047-4018-8213-765C58202D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5170928-CD1A-4E30-B6C6-41924AA0DF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588.7583</c:v>
                </c:pt>
                <c:pt idx="1">
                  <c:v>245.2499</c:v>
                </c:pt>
                <c:pt idx="2">
                  <c:v>430.094</c:v>
                </c:pt>
                <c:pt idx="3">
                  <c:v>382.2512</c:v>
                </c:pt>
                <c:pt idx="4">
                  <c:v>248.8271</c:v>
                </c:pt>
              </c:numCache>
            </c:numRef>
          </c:xVal>
          <c:yVal>
            <c:numRef>
              <c:f>Sheet1!$B$2:$B$6</c:f>
              <c:numCache>
                <c:formatCode>General</c:formatCode>
                <c:ptCount val="5"/>
                <c:pt idx="0">
                  <c:v>1.933</c:v>
                </c:pt>
                <c:pt idx="1">
                  <c:v>0.548</c:v>
                </c:pt>
                <c:pt idx="2">
                  <c:v>4.19</c:v>
                </c:pt>
                <c:pt idx="3">
                  <c:v>1.159</c:v>
                </c:pt>
                <c:pt idx="4">
                  <c:v>2.893</c:v>
                </c:pt>
              </c:numCache>
            </c:numRef>
          </c:yVal>
          <c:bubbleSize>
            <c:numRef>
              <c:f>Sheet1!$C$2:$C$6</c:f>
              <c:numCache>
                <c:formatCode>General</c:formatCode>
                <c:ptCount val="5"/>
                <c:pt idx="0">
                  <c:v>1205777</c:v>
                </c:pt>
                <c:pt idx="1">
                  <c:v>416189</c:v>
                </c:pt>
                <c:pt idx="2">
                  <c:v>288163</c:v>
                </c:pt>
                <c:pt idx="3">
                  <c:v>241965</c:v>
                </c:pt>
                <c:pt idx="4">
                  <c:v>11371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7.0"/>
          <c:min val="19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E25F151-E5DA-4C97-80ED-2D235A58BA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3C6A08E-39B8-4214-BD99-F6062A1274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A165AD9-6A25-4C91-BDA0-65AC5588E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10DE3F9-9F94-491D-9FD6-05CACAD2C4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B7146A4-9095-4D5B-97FF-634D25E9FA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996C84D-77B6-4567-A267-646914A777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2BE01D2-E485-4B57-921F-D984961B50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0D4371F-0208-4F59-A17E-ADEE428589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64.0307</c:v>
                </c:pt>
                <c:pt idx="1">
                  <c:v>235.1615</c:v>
                </c:pt>
                <c:pt idx="2">
                  <c:v>73.1522</c:v>
                </c:pt>
                <c:pt idx="3">
                  <c:v>620.4412</c:v>
                </c:pt>
                <c:pt idx="4">
                  <c:v>75.5846</c:v>
                </c:pt>
                <c:pt idx="5">
                  <c:v>565.0825</c:v>
                </c:pt>
                <c:pt idx="6">
                  <c:v>504.725</c:v>
                </c:pt>
              </c:numCache>
            </c:numRef>
          </c:xVal>
          <c:yVal>
            <c:numRef>
              <c:f>Sheet1!$B$2:$B$8</c:f>
              <c:numCache>
                <c:formatCode>General</c:formatCode>
                <c:ptCount val="7"/>
                <c:pt idx="0">
                  <c:v>1.287</c:v>
                </c:pt>
                <c:pt idx="1">
                  <c:v>1.007</c:v>
                </c:pt>
                <c:pt idx="2">
                  <c:v>0.497</c:v>
                </c:pt>
                <c:pt idx="3">
                  <c:v>2.543</c:v>
                </c:pt>
                <c:pt idx="4">
                  <c:v>0.526</c:v>
                </c:pt>
                <c:pt idx="5">
                  <c:v>2.331</c:v>
                </c:pt>
                <c:pt idx="6">
                  <c:v>2.899</c:v>
                </c:pt>
              </c:numCache>
            </c:numRef>
          </c:yVal>
          <c:bubbleSize>
            <c:numRef>
              <c:f>Sheet1!$C$2:$C$8</c:f>
              <c:numCache>
                <c:formatCode>General</c:formatCode>
                <c:ptCount val="7"/>
                <c:pt idx="0">
                  <c:v>8728327</c:v>
                </c:pt>
                <c:pt idx="1">
                  <c:v>6297391</c:v>
                </c:pt>
                <c:pt idx="2">
                  <c:v>1956235</c:v>
                </c:pt>
                <c:pt idx="3">
                  <c:v>1123619</c:v>
                </c:pt>
                <c:pt idx="4">
                  <c:v>925609</c:v>
                </c:pt>
                <c:pt idx="5">
                  <c:v>534003</c:v>
                </c:pt>
                <c:pt idx="6">
                  <c:v>30838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45.0"/>
          <c:min val="5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89C896D-02A6-41FC-B50E-4A34B41356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F3680FD-A960-4F01-86E3-7CCF9F62BD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3164D03-9C2E-43A3-A601-5BAE088601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62D326B-7B8B-4447-9A7F-9F08EB26FE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F85EE33-45CE-4E73-A19B-B9150D35F3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E6CC137-C38C-4920-A3F8-5867E9E29E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436FA7B-98C6-4A13-A5A7-3DBDD1230E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235A70C-8447-4F2A-B0DB-9E8068875A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5.2655</c:v>
                </c:pt>
                <c:pt idx="1">
                  <c:v>222.9711</c:v>
                </c:pt>
                <c:pt idx="2">
                  <c:v>282.0527</c:v>
                </c:pt>
                <c:pt idx="3">
                  <c:v>231.8833</c:v>
                </c:pt>
                <c:pt idx="4">
                  <c:v>89.0334</c:v>
                </c:pt>
                <c:pt idx="5">
                  <c:v>79.0835</c:v>
                </c:pt>
                <c:pt idx="6">
                  <c:v>602.8249</c:v>
                </c:pt>
              </c:numCache>
            </c:numRef>
          </c:xVal>
          <c:yVal>
            <c:numRef>
              <c:f>Sheet1!$B$2:$B$8</c:f>
              <c:numCache>
                <c:formatCode>General</c:formatCode>
                <c:ptCount val="7"/>
                <c:pt idx="0">
                  <c:v>1.129</c:v>
                </c:pt>
                <c:pt idx="1">
                  <c:v>0.854</c:v>
                </c:pt>
                <c:pt idx="2">
                  <c:v>2.017</c:v>
                </c:pt>
                <c:pt idx="3">
                  <c:v>4.221</c:v>
                </c:pt>
                <c:pt idx="4">
                  <c:v>0.476</c:v>
                </c:pt>
                <c:pt idx="5">
                  <c:v>0.437</c:v>
                </c:pt>
                <c:pt idx="6">
                  <c:v>4.644</c:v>
                </c:pt>
              </c:numCache>
            </c:numRef>
          </c:yVal>
          <c:bubbleSize>
            <c:numRef>
              <c:f>Sheet1!$C$2:$C$8</c:f>
              <c:numCache>
                <c:formatCode>General</c:formatCode>
                <c:ptCount val="7"/>
                <c:pt idx="0">
                  <c:v>96745711</c:v>
                </c:pt>
                <c:pt idx="1">
                  <c:v>75058525</c:v>
                </c:pt>
                <c:pt idx="2">
                  <c:v>13126731</c:v>
                </c:pt>
                <c:pt idx="3">
                  <c:v>8119627</c:v>
                </c:pt>
                <c:pt idx="4">
                  <c:v>8014963</c:v>
                </c:pt>
                <c:pt idx="5">
                  <c:v>5829322</c:v>
                </c:pt>
                <c:pt idx="6">
                  <c:v>3622375</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3.0"/>
          <c:min val="6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ABAA2CDF-86A4-438F-B0AE-285A87B033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F7D23C37-93E6-46D0-8E9F-5A1293EFD4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6A721602-10FA-40F1-8522-20482999D8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B5DA589F-2E4F-4EA8-A3F2-7380871AB6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2D4DFE70-7D46-48CF-BE89-413036B614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57F6EBC1-2F6E-4B1E-99C2-B428EE72A0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0B4D0196-063F-454B-922B-E5CBEC03BB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9E6E56BF-BAE0-4AEC-887D-DFF8B5070C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68.6154</c:v>
                </c:pt>
                <c:pt idx="1">
                  <c:v>134.0757</c:v>
                </c:pt>
                <c:pt idx="2">
                  <c:v>114.5124</c:v>
                </c:pt>
                <c:pt idx="3">
                  <c:v>233.6888</c:v>
                </c:pt>
                <c:pt idx="4">
                  <c:v>46.7466</c:v>
                </c:pt>
              </c:numCache>
            </c:numRef>
          </c:xVal>
          <c:yVal>
            <c:numRef>
              <c:f>Sheet1!$B$2:$B$6</c:f>
              <c:numCache>
                <c:formatCode>General</c:formatCode>
                <c:ptCount val="5"/>
                <c:pt idx="0">
                  <c:v>1.257</c:v>
                </c:pt>
                <c:pt idx="1">
                  <c:v>0.771</c:v>
                </c:pt>
                <c:pt idx="2">
                  <c:v>1.021</c:v>
                </c:pt>
                <c:pt idx="3">
                  <c:v>2.227</c:v>
                </c:pt>
                <c:pt idx="4">
                  <c:v>0.354</c:v>
                </c:pt>
              </c:numCache>
            </c:numRef>
          </c:yVal>
          <c:bubbleSize>
            <c:numRef>
              <c:f>Sheet1!$C$2:$C$6</c:f>
              <c:numCache>
                <c:formatCode>General</c:formatCode>
                <c:ptCount val="5"/>
                <c:pt idx="0">
                  <c:v>1243201</c:v>
                </c:pt>
                <c:pt idx="1">
                  <c:v>1106527</c:v>
                </c:pt>
                <c:pt idx="2">
                  <c:v>647453</c:v>
                </c:pt>
                <c:pt idx="3">
                  <c:v>56319</c:v>
                </c:pt>
                <c:pt idx="4">
                  <c:v>448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0.0"/>
          <c:min val="37.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7E65D65-F630-41B5-AC21-D84DF217C7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18E603-3E2A-4C0C-B923-B00A59FF59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24C95EC-0C68-4E76-A490-0D2EB8C33A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BEA851B-92F4-4490-A97F-CDF6C3A5F0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325F502-A941-476D-8DE4-D789C885F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81BD187-84DE-4370-9D92-4867C4E0C9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95C8E83-6988-4C5C-9237-2AFE65FBA3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3AA5404-CBC6-4869-8044-33ECC8FC9C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660.1452</c:v>
                </c:pt>
                <c:pt idx="1">
                  <c:v>276.0241</c:v>
                </c:pt>
                <c:pt idx="2">
                  <c:v>488.1643</c:v>
                </c:pt>
                <c:pt idx="3">
                  <c:v>527.0556</c:v>
                </c:pt>
              </c:numCache>
            </c:numRef>
          </c:xVal>
          <c:yVal>
            <c:numRef>
              <c:f>Sheet1!$B$2:$B$5</c:f>
              <c:numCache>
                <c:formatCode>General</c:formatCode>
                <c:ptCount val="4"/>
                <c:pt idx="0">
                  <c:v>13.774</c:v>
                </c:pt>
                <c:pt idx="1">
                  <c:v>0.695</c:v>
                </c:pt>
                <c:pt idx="2">
                  <c:v>2.734</c:v>
                </c:pt>
                <c:pt idx="3">
                  <c:v>0.0</c:v>
                </c:pt>
              </c:numCache>
            </c:numRef>
          </c:yVal>
          <c:bubbleSize>
            <c:numRef>
              <c:f>Sheet1!$C$2:$C$5</c:f>
              <c:numCache>
                <c:formatCode>General</c:formatCode>
                <c:ptCount val="4"/>
                <c:pt idx="0">
                  <c:v>163716</c:v>
                </c:pt>
                <c:pt idx="1">
                  <c:v>160370</c:v>
                </c:pt>
                <c:pt idx="2">
                  <c:v>103979</c:v>
                </c:pt>
                <c:pt idx="3">
                  <c:v>948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92.0"/>
          <c:min val="22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F5A1A1-5D0C-4BC2-926B-8A320292A9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C34B1F5-6C61-4344-91EC-47730B1EB5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BB6F26E-A21D-471F-AEF1-D02AFF3FC3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D13C865-2353-4A05-A5D3-7F909BBC77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062AB11-FC11-4945-9486-8F78A033E9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AE3A92A-6132-46C9-AED9-8F212EB51D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2CE9B78-918B-4B90-828B-DCA70CD47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BC6C86A-46B2-4F6E-86E5-8BFFD8FB0E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1.2375</c:v>
                </c:pt>
                <c:pt idx="1">
                  <c:v>215.896</c:v>
                </c:pt>
                <c:pt idx="2">
                  <c:v>81.7414</c:v>
                </c:pt>
                <c:pt idx="3">
                  <c:v>79.714</c:v>
                </c:pt>
                <c:pt idx="4">
                  <c:v>310.0258</c:v>
                </c:pt>
              </c:numCache>
            </c:numRef>
          </c:xVal>
          <c:yVal>
            <c:numRef>
              <c:f>Sheet1!$B$2:$B$6</c:f>
              <c:numCache>
                <c:formatCode>General</c:formatCode>
                <c:ptCount val="5"/>
                <c:pt idx="0">
                  <c:v>1.312</c:v>
                </c:pt>
                <c:pt idx="1">
                  <c:v>1.034</c:v>
                </c:pt>
                <c:pt idx="2">
                  <c:v>0.533</c:v>
                </c:pt>
                <c:pt idx="3">
                  <c:v>0.563</c:v>
                </c:pt>
                <c:pt idx="4">
                  <c:v>1.702</c:v>
                </c:pt>
              </c:numCache>
            </c:numRef>
          </c:yVal>
          <c:bubbleSize>
            <c:numRef>
              <c:f>Sheet1!$C$2:$C$6</c:f>
              <c:numCache>
                <c:formatCode>General</c:formatCode>
                <c:ptCount val="5"/>
                <c:pt idx="0">
                  <c:v>12346534</c:v>
                </c:pt>
                <c:pt idx="1">
                  <c:v>6734012</c:v>
                </c:pt>
                <c:pt idx="2">
                  <c:v>2139664</c:v>
                </c:pt>
                <c:pt idx="3">
                  <c:v>1507312</c:v>
                </c:pt>
                <c:pt idx="4">
                  <c:v>28863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72.0"/>
          <c:min val="6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0020822-70D6-4BF9-9CA1-B52D2791D7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440D98B-1BEC-423D-8E28-9BD650AFE1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553E345-02DB-41BA-A427-7149C18828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4F53798-8BA3-4538-B8DA-E747C8B77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0C03D85-299C-4403-92F9-C8CEE349E5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16B7FCE-3848-4D91-88B0-7D0D21C186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B842C3B-D022-498D-8BA8-2F32930FD7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DDD726D-FFE2-4CBF-83D3-FA1CFA099A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1.8736</c:v>
                </c:pt>
                <c:pt idx="1">
                  <c:v>216.6493</c:v>
                </c:pt>
                <c:pt idx="2">
                  <c:v>589.7584</c:v>
                </c:pt>
                <c:pt idx="3">
                  <c:v>290.1049</c:v>
                </c:pt>
                <c:pt idx="4">
                  <c:v>303.0394</c:v>
                </c:pt>
                <c:pt idx="5">
                  <c:v>87.5249</c:v>
                </c:pt>
                <c:pt idx="6">
                  <c:v>77.0767</c:v>
                </c:pt>
                <c:pt idx="7">
                  <c:v>551.5448</c:v>
                </c:pt>
              </c:numCache>
            </c:numRef>
          </c:xVal>
          <c:yVal>
            <c:numRef>
              <c:f>Sheet1!$B$2:$B$9</c:f>
              <c:numCache>
                <c:formatCode>General</c:formatCode>
                <c:ptCount val="8"/>
                <c:pt idx="0">
                  <c:v>1.088</c:v>
                </c:pt>
                <c:pt idx="1">
                  <c:v>0.736</c:v>
                </c:pt>
                <c:pt idx="2">
                  <c:v>3.763</c:v>
                </c:pt>
                <c:pt idx="3">
                  <c:v>1.915</c:v>
                </c:pt>
                <c:pt idx="4">
                  <c:v>4.133</c:v>
                </c:pt>
                <c:pt idx="5">
                  <c:v>0.434</c:v>
                </c:pt>
                <c:pt idx="6">
                  <c:v>0.377</c:v>
                </c:pt>
                <c:pt idx="7">
                  <c:v>4.86</c:v>
                </c:pt>
              </c:numCache>
            </c:numRef>
          </c:yVal>
          <c:bubbleSize>
            <c:numRef>
              <c:f>Sheet1!$C$2:$C$9</c:f>
              <c:numCache>
                <c:formatCode>General</c:formatCode>
                <c:ptCount val="8"/>
                <c:pt idx="0">
                  <c:v>83894579</c:v>
                </c:pt>
                <c:pt idx="1">
                  <c:v>64371935</c:v>
                </c:pt>
                <c:pt idx="2">
                  <c:v>17357178</c:v>
                </c:pt>
                <c:pt idx="3">
                  <c:v>16158843</c:v>
                </c:pt>
                <c:pt idx="4">
                  <c:v>15788654</c:v>
                </c:pt>
                <c:pt idx="5">
                  <c:v>9860026</c:v>
                </c:pt>
                <c:pt idx="6">
                  <c:v>5563627</c:v>
                </c:pt>
                <c:pt idx="7">
                  <c:v>318406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8.0"/>
          <c:min val="6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AB3844C-F7C2-43D0-8A6E-FCAD4B1BE6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828B4DE-4E82-4A28-95F9-B455A5CF97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19DE068-53AC-4776-997F-E4F81016CE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330FD92-C371-4BE2-ABDD-11FE47E73E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15E9317-C811-4009-A5B9-2CDAA1ABC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4F15976-D052-45F5-A0D2-F0C334CA1B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DDC71F4-8BC8-4EE9-A7D8-05C7623928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CB3BFB3-9DB8-4736-A3E5-5159E94AA5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621.1562</c:v>
                </c:pt>
                <c:pt idx="1">
                  <c:v>237.2688</c:v>
                </c:pt>
                <c:pt idx="2">
                  <c:v>484.3873</c:v>
                </c:pt>
                <c:pt idx="3">
                  <c:v>494.6894</c:v>
                </c:pt>
                <c:pt idx="4">
                  <c:v>472.3294</c:v>
                </c:pt>
              </c:numCache>
            </c:numRef>
          </c:xVal>
          <c:yVal>
            <c:numRef>
              <c:f>Sheet1!$B$2:$B$6</c:f>
              <c:numCache>
                <c:formatCode>General</c:formatCode>
                <c:ptCount val="5"/>
                <c:pt idx="0">
                  <c:v>3.914</c:v>
                </c:pt>
                <c:pt idx="1">
                  <c:v>0.518</c:v>
                </c:pt>
                <c:pt idx="2">
                  <c:v>2.883</c:v>
                </c:pt>
                <c:pt idx="3">
                  <c:v>8.904</c:v>
                </c:pt>
                <c:pt idx="4">
                  <c:v>17.264</c:v>
                </c:pt>
              </c:numCache>
            </c:numRef>
          </c:yVal>
          <c:bubbleSize>
            <c:numRef>
              <c:f>Sheet1!$C$2:$C$6</c:f>
              <c:numCache>
                <c:formatCode>General</c:formatCode>
                <c:ptCount val="5"/>
                <c:pt idx="0">
                  <c:v>473321</c:v>
                </c:pt>
                <c:pt idx="1">
                  <c:v>293976</c:v>
                </c:pt>
                <c:pt idx="2">
                  <c:v>167598</c:v>
                </c:pt>
                <c:pt idx="3">
                  <c:v>144944</c:v>
                </c:pt>
                <c:pt idx="4">
                  <c:v>4014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45.0"/>
          <c:min val="19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7FD9204-CB42-4A36-A395-78D22C7758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3E47415-9892-41B2-B523-6321E726DD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E690D1F-147D-4680-9B2B-6A61BA1AC0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E2B09D9-E32F-4648-972E-77ECD67E3B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C4B5CA8-60DF-494E-8459-E8E4D931FA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B479946-3962-4EB7-895E-F74FFECDE9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DD78163-33D0-473C-9EEA-05584928B8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3B783F5-CCA1-4224-BF28-8526DB9F9D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56.6572</c:v>
                </c:pt>
                <c:pt idx="1">
                  <c:v>238.0726</c:v>
                </c:pt>
                <c:pt idx="2">
                  <c:v>76.4645</c:v>
                </c:pt>
                <c:pt idx="3">
                  <c:v>77.4752</c:v>
                </c:pt>
                <c:pt idx="4">
                  <c:v>685.3827</c:v>
                </c:pt>
                <c:pt idx="5">
                  <c:v>594.6939</c:v>
                </c:pt>
              </c:numCache>
            </c:numRef>
          </c:xVal>
          <c:yVal>
            <c:numRef>
              <c:f>Sheet1!$B$2:$B$7</c:f>
              <c:numCache>
                <c:formatCode>General</c:formatCode>
                <c:ptCount val="6"/>
                <c:pt idx="0">
                  <c:v>1.303</c:v>
                </c:pt>
                <c:pt idx="1">
                  <c:v>1.058</c:v>
                </c:pt>
                <c:pt idx="2">
                  <c:v>0.549</c:v>
                </c:pt>
                <c:pt idx="3">
                  <c:v>0.547</c:v>
                </c:pt>
                <c:pt idx="4">
                  <c:v>3.575</c:v>
                </c:pt>
                <c:pt idx="5">
                  <c:v>2.764</c:v>
                </c:pt>
              </c:numCache>
            </c:numRef>
          </c:yVal>
          <c:bubbleSize>
            <c:numRef>
              <c:f>Sheet1!$C$2:$C$7</c:f>
              <c:numCache>
                <c:formatCode>General</c:formatCode>
                <c:ptCount val="6"/>
                <c:pt idx="0">
                  <c:v>11314989</c:v>
                </c:pt>
                <c:pt idx="1">
                  <c:v>6843158</c:v>
                </c:pt>
                <c:pt idx="2">
                  <c:v>2603844</c:v>
                </c:pt>
                <c:pt idx="3">
                  <c:v>1383165</c:v>
                </c:pt>
                <c:pt idx="4">
                  <c:v>476341</c:v>
                </c:pt>
                <c:pt idx="5">
                  <c:v>3496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2.0"/>
          <c:min val="6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6A524C-BECE-4DCE-A008-9ED8B93B6B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6C852FC-E4B8-41E3-A495-D1CA85C7E3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AF7B5D3-614E-4F4E-9B94-8EE33EE854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99BA72D-3629-438E-BD4B-3840A2E5A9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5BD6C20-1B1C-4002-B7D6-57D2603B05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3039D05-CDF9-4C85-B416-C3129537D8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F47179F-B415-43A4-8354-680095149C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9A1CB2B-31BC-4EE4-8934-94C051C56E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25.6817</c:v>
                </c:pt>
                <c:pt idx="1">
                  <c:v>256.1234</c:v>
                </c:pt>
                <c:pt idx="2">
                  <c:v>586.881</c:v>
                </c:pt>
                <c:pt idx="3">
                  <c:v>296.9305</c:v>
                </c:pt>
                <c:pt idx="4">
                  <c:v>323.9126</c:v>
                </c:pt>
                <c:pt idx="5">
                  <c:v>88.2317</c:v>
                </c:pt>
                <c:pt idx="6">
                  <c:v>76.3839</c:v>
                </c:pt>
                <c:pt idx="7">
                  <c:v>536.2493</c:v>
                </c:pt>
              </c:numCache>
            </c:numRef>
          </c:xVal>
          <c:yVal>
            <c:numRef>
              <c:f>Sheet1!$B$2:$B$9</c:f>
              <c:numCache>
                <c:formatCode>General</c:formatCode>
                <c:ptCount val="8"/>
                <c:pt idx="0">
                  <c:v>0.766</c:v>
                </c:pt>
                <c:pt idx="1">
                  <c:v>1.105</c:v>
                </c:pt>
                <c:pt idx="2">
                  <c:v>3.708</c:v>
                </c:pt>
                <c:pt idx="3">
                  <c:v>2.056</c:v>
                </c:pt>
                <c:pt idx="4">
                  <c:v>4.239</c:v>
                </c:pt>
                <c:pt idx="5">
                  <c:v>0.407</c:v>
                </c:pt>
                <c:pt idx="6">
                  <c:v>0.376</c:v>
                </c:pt>
                <c:pt idx="7">
                  <c:v>4.822</c:v>
                </c:pt>
              </c:numCache>
            </c:numRef>
          </c:yVal>
          <c:bubbleSize>
            <c:numRef>
              <c:f>Sheet1!$C$2:$C$9</c:f>
              <c:numCache>
                <c:formatCode>General</c:formatCode>
                <c:ptCount val="8"/>
                <c:pt idx="0">
                  <c:v>76546041</c:v>
                </c:pt>
                <c:pt idx="1">
                  <c:v>67601968</c:v>
                </c:pt>
                <c:pt idx="2">
                  <c:v>16232541</c:v>
                </c:pt>
                <c:pt idx="3">
                  <c:v>15380108</c:v>
                </c:pt>
                <c:pt idx="4">
                  <c:v>14385284</c:v>
                </c:pt>
                <c:pt idx="5">
                  <c:v>8716760</c:v>
                </c:pt>
                <c:pt idx="6">
                  <c:v>3929875</c:v>
                </c:pt>
                <c:pt idx="7">
                  <c:v>351028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4.0"/>
          <c:min val="6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53EF38E-F24E-4592-B4A1-87970330A6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25CDB87-593E-4F75-9298-CF7495A8D4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64C7A95-CD34-420F-9911-758BB32453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7802E8E-E808-466D-9268-503AFD2743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FB95761-E929-4FC8-810C-1A41405042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E41C610-25DA-4BD9-818A-0E82ECC81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F28370A-BAC8-43EA-B0DC-886CDA272D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63F152A-68FE-481B-80F1-FE7C7091B7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606.1356</c:v>
                </c:pt>
                <c:pt idx="1">
                  <c:v>237.9161</c:v>
                </c:pt>
                <c:pt idx="2">
                  <c:v>500.0714</c:v>
                </c:pt>
                <c:pt idx="3">
                  <c:v>490.0442</c:v>
                </c:pt>
                <c:pt idx="4">
                  <c:v>368.3226</c:v>
                </c:pt>
              </c:numCache>
            </c:numRef>
          </c:xVal>
          <c:yVal>
            <c:numRef>
              <c:f>Sheet1!$B$2:$B$6</c:f>
              <c:numCache>
                <c:formatCode>General</c:formatCode>
                <c:ptCount val="5"/>
                <c:pt idx="0">
                  <c:v>3.967</c:v>
                </c:pt>
                <c:pt idx="1">
                  <c:v>0.557</c:v>
                </c:pt>
                <c:pt idx="2">
                  <c:v>3.95</c:v>
                </c:pt>
                <c:pt idx="3">
                  <c:v>6.693</c:v>
                </c:pt>
                <c:pt idx="4">
                  <c:v>7.516</c:v>
                </c:pt>
              </c:numCache>
            </c:numRef>
          </c:yVal>
          <c:bubbleSize>
            <c:numRef>
              <c:f>Sheet1!$C$2:$C$6</c:f>
              <c:numCache>
                <c:formatCode>General</c:formatCode>
                <c:ptCount val="5"/>
                <c:pt idx="0">
                  <c:v>415809</c:v>
                </c:pt>
                <c:pt idx="1">
                  <c:v>292161</c:v>
                </c:pt>
                <c:pt idx="2">
                  <c:v>126018</c:v>
                </c:pt>
                <c:pt idx="3">
                  <c:v>122021</c:v>
                </c:pt>
                <c:pt idx="4">
                  <c:v>3425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7.0"/>
          <c:min val="19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6EEB9FA-D15C-403F-BDC7-EF03C608EB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7554A2B-5D3A-4440-B0A6-4D67BBDD2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02C6FE6-6BFF-4D0A-8F1B-6A8D695068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DBF7348-C4A8-4A8E-8AFB-999BF384DC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B4EEB73-C3F1-4459-9514-25D4BC4FEF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E7E3DDF-682E-42F8-A948-B027AD5BE6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9B0BCC8-7979-4ADD-A6DB-7F048DC88C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682D239-7B48-4DAB-8358-0488607D9C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64.7141</c:v>
                </c:pt>
                <c:pt idx="1">
                  <c:v>256.2556</c:v>
                </c:pt>
                <c:pt idx="2">
                  <c:v>78.93</c:v>
                </c:pt>
                <c:pt idx="3">
                  <c:v>76.0139</c:v>
                </c:pt>
                <c:pt idx="4">
                  <c:v>675.43</c:v>
                </c:pt>
                <c:pt idx="5">
                  <c:v>604.1472</c:v>
                </c:pt>
              </c:numCache>
            </c:numRef>
          </c:xVal>
          <c:yVal>
            <c:numRef>
              <c:f>Sheet1!$B$2:$B$7</c:f>
              <c:numCache>
                <c:formatCode>General</c:formatCode>
                <c:ptCount val="6"/>
                <c:pt idx="0">
                  <c:v>1.32</c:v>
                </c:pt>
                <c:pt idx="1">
                  <c:v>1.122</c:v>
                </c:pt>
                <c:pt idx="2">
                  <c:v>0.524</c:v>
                </c:pt>
                <c:pt idx="3">
                  <c:v>0.543</c:v>
                </c:pt>
                <c:pt idx="4">
                  <c:v>3.2</c:v>
                </c:pt>
                <c:pt idx="5">
                  <c:v>2.746</c:v>
                </c:pt>
              </c:numCache>
            </c:numRef>
          </c:yVal>
          <c:bubbleSize>
            <c:numRef>
              <c:f>Sheet1!$C$2:$C$7</c:f>
              <c:numCache>
                <c:formatCode>General</c:formatCode>
                <c:ptCount val="6"/>
                <c:pt idx="0">
                  <c:v>9066192</c:v>
                </c:pt>
                <c:pt idx="1">
                  <c:v>7984412</c:v>
                </c:pt>
                <c:pt idx="2">
                  <c:v>2649996</c:v>
                </c:pt>
                <c:pt idx="3">
                  <c:v>1118241</c:v>
                </c:pt>
                <c:pt idx="4">
                  <c:v>549800</c:v>
                </c:pt>
                <c:pt idx="5">
                  <c:v>3365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1.0"/>
          <c:min val="6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76D6D9-289B-4E70-8C79-D39E48A3E0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8052F3B-F74A-4EA6-9B05-32240D135B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DDFC4A8-F050-4319-BE00-C74FE9A1E8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A074F14-D11A-4E8C-8407-99CEE1BF23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6763598-EF30-4782-BA2A-4ACB54186E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242838D-2102-4BD6-B02D-106B8968AE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6D563EA-C10D-4E6D-89C1-3225A56C68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1F1931D-253D-4E57-8662-18F8387DDF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7.3325</c:v>
                </c:pt>
                <c:pt idx="1">
                  <c:v>229.8299</c:v>
                </c:pt>
                <c:pt idx="2">
                  <c:v>295.5479</c:v>
                </c:pt>
                <c:pt idx="3">
                  <c:v>285.8745</c:v>
                </c:pt>
                <c:pt idx="4">
                  <c:v>599.4627</c:v>
                </c:pt>
                <c:pt idx="5">
                  <c:v>84.1268</c:v>
                </c:pt>
              </c:numCache>
            </c:numRef>
          </c:xVal>
          <c:yVal>
            <c:numRef>
              <c:f>Sheet1!$B$2:$B$7</c:f>
              <c:numCache>
                <c:formatCode>General</c:formatCode>
                <c:ptCount val="6"/>
                <c:pt idx="0">
                  <c:v>1.114</c:v>
                </c:pt>
                <c:pt idx="1">
                  <c:v>0.803</c:v>
                </c:pt>
                <c:pt idx="2">
                  <c:v>2.069</c:v>
                </c:pt>
                <c:pt idx="3">
                  <c:v>4.165</c:v>
                </c:pt>
                <c:pt idx="4">
                  <c:v>4.165</c:v>
                </c:pt>
                <c:pt idx="5">
                  <c:v>0.424</c:v>
                </c:pt>
              </c:numCache>
            </c:numRef>
          </c:yVal>
          <c:bubbleSize>
            <c:numRef>
              <c:f>Sheet1!$C$2:$C$7</c:f>
              <c:numCache>
                <c:formatCode>General</c:formatCode>
                <c:ptCount val="6"/>
                <c:pt idx="0">
                  <c:v>63635187</c:v>
                </c:pt>
                <c:pt idx="1">
                  <c:v>57488741</c:v>
                </c:pt>
                <c:pt idx="2">
                  <c:v>9309759</c:v>
                </c:pt>
                <c:pt idx="3">
                  <c:v>9083376</c:v>
                </c:pt>
                <c:pt idx="4">
                  <c:v>5655931</c:v>
                </c:pt>
                <c:pt idx="5">
                  <c:v>439890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9.0"/>
          <c:min val="6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329016-AA3E-41B5-9673-00AAC56A72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B73CD2D-EF2E-409A-A621-BC51E3428F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000CAA0-D359-4674-8011-7363C35962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0B0DA99-7047-4D2C-8CA8-CD691F21BD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33FC114-7BC1-4BBF-B155-79FB24322C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C23787C-F5B6-4468-B3B7-4B88F51E85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1B0786C-8036-425A-8FDE-5FB3D99A5E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7F7D66E-9FE3-4EC5-874C-6F65F1B4D4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62.0646</c:v>
                </c:pt>
                <c:pt idx="1">
                  <c:v>632.3459</c:v>
                </c:pt>
                <c:pt idx="2">
                  <c:v>474.795</c:v>
                </c:pt>
                <c:pt idx="3">
                  <c:v>555.6875</c:v>
                </c:pt>
                <c:pt idx="4">
                  <c:v>988.1111</c:v>
                </c:pt>
              </c:numCache>
            </c:numRef>
          </c:xVal>
          <c:yVal>
            <c:numRef>
              <c:f>Sheet1!$B$2:$B$6</c:f>
              <c:numCache>
                <c:formatCode>General</c:formatCode>
                <c:ptCount val="5"/>
                <c:pt idx="0">
                  <c:v>0.721</c:v>
                </c:pt>
                <c:pt idx="1">
                  <c:v>39.856</c:v>
                </c:pt>
                <c:pt idx="2">
                  <c:v>6.038</c:v>
                </c:pt>
                <c:pt idx="3">
                  <c:v>0.0</c:v>
                </c:pt>
                <c:pt idx="4">
                  <c:v>0.0</c:v>
                </c:pt>
              </c:numCache>
            </c:numRef>
          </c:yVal>
          <c:bubbleSize>
            <c:numRef>
              <c:f>Sheet1!$C$2:$C$6</c:f>
              <c:numCache>
                <c:formatCode>General</c:formatCode>
                <c:ptCount val="5"/>
                <c:pt idx="0">
                  <c:v>207031</c:v>
                </c:pt>
                <c:pt idx="1">
                  <c:v>168204</c:v>
                </c:pt>
                <c:pt idx="2">
                  <c:v>76442</c:v>
                </c:pt>
                <c:pt idx="3">
                  <c:v>35564</c:v>
                </c:pt>
                <c:pt idx="4">
                  <c:v>8893</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6.0"/>
          <c:min val="2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8DDEF6D-B778-481A-B1E6-99EB4516B7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59ED69-E29C-4EAA-974D-0A5EFD5E01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49F6216-2872-40A5-A201-D3A77433D9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94DAFAB-DC9D-4A9B-96CC-F011214079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A1AE231-3862-42D5-A071-D462C8EFA2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7D0F80B-BC4D-43E8-BA2B-CDB1BCD982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0E7F99C-FE87-40EC-AEFB-7E5E279E3A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30DEE70-68FB-4088-AF66-0A7E886B23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6.5461</c:v>
                </c:pt>
                <c:pt idx="1">
                  <c:v>216.7578</c:v>
                </c:pt>
                <c:pt idx="2">
                  <c:v>243.0355</c:v>
                </c:pt>
                <c:pt idx="3">
                  <c:v>587.347</c:v>
                </c:pt>
                <c:pt idx="4">
                  <c:v>296.9305</c:v>
                </c:pt>
                <c:pt idx="5">
                  <c:v>85.8795</c:v>
                </c:pt>
                <c:pt idx="6">
                  <c:v>577.6143</c:v>
                </c:pt>
                <c:pt idx="7">
                  <c:v>221.1781</c:v>
                </c:pt>
              </c:numCache>
            </c:numRef>
          </c:xVal>
          <c:yVal>
            <c:numRef>
              <c:f>Sheet1!$B$2:$B$9</c:f>
              <c:numCache>
                <c:formatCode>General</c:formatCode>
                <c:ptCount val="8"/>
                <c:pt idx="0">
                  <c:v>1.06</c:v>
                </c:pt>
                <c:pt idx="1">
                  <c:v>0.78</c:v>
                </c:pt>
                <c:pt idx="2">
                  <c:v>0.791</c:v>
                </c:pt>
                <c:pt idx="3">
                  <c:v>3.894</c:v>
                </c:pt>
                <c:pt idx="4">
                  <c:v>2.143</c:v>
                </c:pt>
                <c:pt idx="5">
                  <c:v>0.411</c:v>
                </c:pt>
                <c:pt idx="6">
                  <c:v>6.268</c:v>
                </c:pt>
                <c:pt idx="7">
                  <c:v>2.706</c:v>
                </c:pt>
              </c:numCache>
            </c:numRef>
          </c:yVal>
          <c:bubbleSize>
            <c:numRef>
              <c:f>Sheet1!$C$2:$C$9</c:f>
              <c:numCache>
                <c:formatCode>General</c:formatCode>
                <c:ptCount val="8"/>
                <c:pt idx="0">
                  <c:v>71214845</c:v>
                </c:pt>
                <c:pt idx="1">
                  <c:v>43615577</c:v>
                </c:pt>
                <c:pt idx="2">
                  <c:v>39255583</c:v>
                </c:pt>
                <c:pt idx="3">
                  <c:v>16648350</c:v>
                </c:pt>
                <c:pt idx="4">
                  <c:v>15380108</c:v>
                </c:pt>
                <c:pt idx="5">
                  <c:v>11365898</c:v>
                </c:pt>
                <c:pt idx="6">
                  <c:v>6503359</c:v>
                </c:pt>
                <c:pt idx="7">
                  <c:v>195145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5.0"/>
          <c:min val="69.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C5E1D6F-403E-4028-B293-435F48E59B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196DD5B-8177-452D-8506-7A334AFC4F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A2EC69A-3A6C-48DF-961B-F7BFC7D222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B3ECF12-F423-4E43-A8CE-CC231AA660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5FC36C3-BDB2-4506-BEF8-57BDB8F792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5AB248D-667E-495C-9093-0AC2FFED08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0B40B54-6FC1-46D6-8F58-56E92854C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25443E5-12B4-4FBB-8BFC-ADA7C25542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53.2643</c:v>
                </c:pt>
                <c:pt idx="1">
                  <c:v>249.5802</c:v>
                </c:pt>
                <c:pt idx="2">
                  <c:v>70.2778</c:v>
                </c:pt>
                <c:pt idx="3">
                  <c:v>73.9248</c:v>
                </c:pt>
              </c:numCache>
            </c:numRef>
          </c:xVal>
          <c:yVal>
            <c:numRef>
              <c:f>Sheet1!$B$2:$B$5</c:f>
              <c:numCache>
                <c:formatCode>General</c:formatCode>
                <c:ptCount val="4"/>
                <c:pt idx="0">
                  <c:v>1.236</c:v>
                </c:pt>
                <c:pt idx="1">
                  <c:v>1.07</c:v>
                </c:pt>
                <c:pt idx="2">
                  <c:v>0.484</c:v>
                </c:pt>
                <c:pt idx="3">
                  <c:v>0.508</c:v>
                </c:pt>
              </c:numCache>
            </c:numRef>
          </c:yVal>
          <c:bubbleSize>
            <c:numRef>
              <c:f>Sheet1!$C$2:$C$5</c:f>
              <c:numCache>
                <c:formatCode>General</c:formatCode>
                <c:ptCount val="4"/>
                <c:pt idx="0">
                  <c:v>7814216</c:v>
                </c:pt>
                <c:pt idx="1">
                  <c:v>5625289</c:v>
                </c:pt>
                <c:pt idx="2">
                  <c:v>1109124</c:v>
                </c:pt>
                <c:pt idx="3">
                  <c:v>44022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4.0"/>
          <c:min val="5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F9CC829-B317-470E-922C-EFF2A87F47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00D24F1-2F13-49EC-9630-E01F7F7696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C434088-F897-4B07-AE4C-88C549F574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8430B94-4F8E-468C-8241-5E9B7973E8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8A95DB8-8EFB-4C81-8316-9FE60279E6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4CFBFF3-B3A0-4C54-B232-26FA885B9B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8D253B7-B308-47DB-BF8D-0CD8AAE5CA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D0790D3-3357-4EAB-B13D-D0436301EA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3.3146</c:v>
                </c:pt>
                <c:pt idx="1">
                  <c:v>213.5303</c:v>
                </c:pt>
                <c:pt idx="2">
                  <c:v>88.9913</c:v>
                </c:pt>
                <c:pt idx="3">
                  <c:v>76.9486</c:v>
                </c:pt>
                <c:pt idx="4">
                  <c:v>192.5613</c:v>
                </c:pt>
              </c:numCache>
            </c:numRef>
          </c:xVal>
          <c:yVal>
            <c:numRef>
              <c:f>Sheet1!$B$2:$B$6</c:f>
              <c:numCache>
                <c:formatCode>General</c:formatCode>
                <c:ptCount val="5"/>
                <c:pt idx="0">
                  <c:v>1.228</c:v>
                </c:pt>
                <c:pt idx="1">
                  <c:v>0.92</c:v>
                </c:pt>
                <c:pt idx="2">
                  <c:v>0.494</c:v>
                </c:pt>
                <c:pt idx="3">
                  <c:v>0.457</c:v>
                </c:pt>
                <c:pt idx="4">
                  <c:v>3.599</c:v>
                </c:pt>
              </c:numCache>
            </c:numRef>
          </c:yVal>
          <c:bubbleSize>
            <c:numRef>
              <c:f>Sheet1!$C$2:$C$6</c:f>
              <c:numCache>
                <c:formatCode>General</c:formatCode>
                <c:ptCount val="5"/>
                <c:pt idx="0">
                  <c:v>523432960</c:v>
                </c:pt>
                <c:pt idx="1">
                  <c:v>333290046</c:v>
                </c:pt>
                <c:pt idx="2">
                  <c:v>45806918</c:v>
                </c:pt>
                <c:pt idx="3">
                  <c:v>32892975</c:v>
                </c:pt>
                <c:pt idx="4">
                  <c:v>30494965</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2.0"/>
          <c:min val="6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0D3D94-B997-476C-B1CA-11F4E20988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75CF7AA-D820-43BF-8CF3-A16138E706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279502F-4A49-48B4-8BAE-2DE1197EE6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67A96AF-D738-4EF9-A7A1-DB0069F500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A878B10-9BBF-4E9C-8575-0772076D80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01DA470-1C1A-4815-AFF0-DAE2EA6DDF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BC62040-3C40-417C-9DB0-D65F725883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C6636EB-ADF0-4549-9EEA-6CD12C1A1A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7.1653</c:v>
                </c:pt>
                <c:pt idx="1">
                  <c:v>290.3909</c:v>
                </c:pt>
                <c:pt idx="2">
                  <c:v>427.9508</c:v>
                </c:pt>
                <c:pt idx="3">
                  <c:v>575.9708</c:v>
                </c:pt>
                <c:pt idx="4">
                  <c:v>539.3318</c:v>
                </c:pt>
                <c:pt idx="5">
                  <c:v>321.1487</c:v>
                </c:pt>
                <c:pt idx="6">
                  <c:v>535.1501</c:v>
                </c:pt>
                <c:pt idx="7">
                  <c:v>394.0492</c:v>
                </c:pt>
              </c:numCache>
            </c:numRef>
          </c:xVal>
          <c:yVal>
            <c:numRef>
              <c:f>Sheet1!$B$2:$B$9</c:f>
              <c:numCache>
                <c:formatCode>General</c:formatCode>
                <c:ptCount val="8"/>
                <c:pt idx="0">
                  <c:v>1.419</c:v>
                </c:pt>
                <c:pt idx="1">
                  <c:v>0.688</c:v>
                </c:pt>
                <c:pt idx="2">
                  <c:v>1.688</c:v>
                </c:pt>
                <c:pt idx="3">
                  <c:v>1.708</c:v>
                </c:pt>
                <c:pt idx="4">
                  <c:v>1.445</c:v>
                </c:pt>
                <c:pt idx="5">
                  <c:v>0.835</c:v>
                </c:pt>
                <c:pt idx="6">
                  <c:v>1.907</c:v>
                </c:pt>
                <c:pt idx="7">
                  <c:v>1.426</c:v>
                </c:pt>
              </c:numCache>
            </c:numRef>
          </c:yVal>
          <c:bubbleSize>
            <c:numRef>
              <c:f>Sheet1!$C$2:$C$9</c:f>
              <c:numCache>
                <c:formatCode>General</c:formatCode>
                <c:ptCount val="8"/>
                <c:pt idx="0">
                  <c:v>108131910</c:v>
                </c:pt>
                <c:pt idx="1">
                  <c:v>99186490</c:v>
                </c:pt>
                <c:pt idx="2">
                  <c:v>75033038</c:v>
                </c:pt>
                <c:pt idx="3">
                  <c:v>39227065</c:v>
                </c:pt>
                <c:pt idx="4">
                  <c:v>23780757</c:v>
                </c:pt>
                <c:pt idx="5">
                  <c:v>13026112</c:v>
                </c:pt>
                <c:pt idx="6">
                  <c:v>11742263</c:v>
                </c:pt>
                <c:pt idx="7">
                  <c:v>92109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0"/>
          <c:min val="23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ECA7292-0B25-49D3-A97C-7777A7E1C6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AC6329A-6A7A-40BA-B7F7-5D3F13AB32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375F6A0-AAB7-42BD-8F8E-F4D1A062B2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ADD1CF1-38C3-4C62-88E3-A601E35B7A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1A94EEA-EC11-4099-9719-84A6CFAF5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A4E6B22-13E4-45DE-BC0B-8BC9311827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26AEF5C-BE19-4468-9810-9DF74F9772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F9F9727-95FC-4E28-B6DD-483BD0918F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26.6323</c:v>
                </c:pt>
                <c:pt idx="1">
                  <c:v>74.7641</c:v>
                </c:pt>
              </c:numCache>
            </c:numRef>
          </c:xVal>
          <c:yVal>
            <c:numRef>
              <c:f>Sheet1!$B$2:$B$3</c:f>
              <c:numCache>
                <c:formatCode>General</c:formatCode>
                <c:ptCount val="2"/>
                <c:pt idx="0">
                  <c:v>1.11</c:v>
                </c:pt>
                <c:pt idx="1">
                  <c:v>0.591</c:v>
                </c:pt>
              </c:numCache>
            </c:numRef>
          </c:yVal>
          <c:bubbleSize>
            <c:numRef>
              <c:f>Sheet1!$C$2:$C$3</c:f>
              <c:numCache>
                <c:formatCode>General</c:formatCode>
                <c:ptCount val="2"/>
                <c:pt idx="0">
                  <c:v>130937942</c:v>
                </c:pt>
                <c:pt idx="1">
                  <c:v>1619032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2.0"/>
          <c:min val="6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46887B5-8F35-47FA-BB00-7EC23C6B11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63A0101-B826-4125-8052-52D12EE478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8B0CF5F-D91A-457A-AFC7-42730845F3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95F8138-F22C-4CA1-9D02-CE215B02E2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5358C58-2639-413A-B9D1-EC4721AAAF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F7D68D7-A5AB-4F03-80F7-2B63EB1CDA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F8C851F-EF43-4C45-8F67-572728B1E4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CFB8818-314D-40DC-A322-80D2A7ED46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3.2715</c:v>
                </c:pt>
                <c:pt idx="1">
                  <c:v>205.9563</c:v>
                </c:pt>
                <c:pt idx="2">
                  <c:v>88.9327</c:v>
                </c:pt>
                <c:pt idx="3">
                  <c:v>191.8356</c:v>
                </c:pt>
                <c:pt idx="4">
                  <c:v>76.5351</c:v>
                </c:pt>
              </c:numCache>
            </c:numRef>
          </c:xVal>
          <c:yVal>
            <c:numRef>
              <c:f>Sheet1!$B$2:$B$6</c:f>
              <c:numCache>
                <c:formatCode>General</c:formatCode>
                <c:ptCount val="5"/>
                <c:pt idx="0">
                  <c:v>1.228</c:v>
                </c:pt>
                <c:pt idx="1">
                  <c:v>0.901</c:v>
                </c:pt>
                <c:pt idx="2">
                  <c:v>0.486</c:v>
                </c:pt>
                <c:pt idx="3">
                  <c:v>3.535</c:v>
                </c:pt>
                <c:pt idx="4">
                  <c:v>0.453</c:v>
                </c:pt>
              </c:numCache>
            </c:numRef>
          </c:yVal>
          <c:bubbleSize>
            <c:numRef>
              <c:f>Sheet1!$C$2:$C$6</c:f>
              <c:numCache>
                <c:formatCode>General</c:formatCode>
                <c:ptCount val="5"/>
                <c:pt idx="0">
                  <c:v>111274571</c:v>
                </c:pt>
                <c:pt idx="1">
                  <c:v>71889468</c:v>
                </c:pt>
                <c:pt idx="2">
                  <c:v>9310814</c:v>
                </c:pt>
                <c:pt idx="3">
                  <c:v>8790097</c:v>
                </c:pt>
                <c:pt idx="4">
                  <c:v>818534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2.0"/>
          <c:min val="6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1EAB5FE-3CDA-45AD-BF3C-33C42D2BD7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F151E71-0CBF-4A42-87EB-9FD8C55059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FFEF779-82BC-4CF4-8AC8-7380EDB75E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5968F1B-EFFE-44CD-BC73-CAA8811B82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23BD0A3-3BFF-4DC7-AF0B-CA3C0F3E90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DEDFFD5-0135-48B1-870B-8F69A4F2F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5FAC687-2F57-4E5A-B5B8-DFD2B50EED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667767B-2B9A-4FB9-8A20-1A8FB68041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89.7255</c:v>
                </c:pt>
                <c:pt idx="1">
                  <c:v>591.1292</c:v>
                </c:pt>
                <c:pt idx="2">
                  <c:v>386.8558</c:v>
                </c:pt>
                <c:pt idx="3">
                  <c:v>569.417</c:v>
                </c:pt>
                <c:pt idx="4">
                  <c:v>556.0291</c:v>
                </c:pt>
                <c:pt idx="5">
                  <c:v>326.0504</c:v>
                </c:pt>
                <c:pt idx="6">
                  <c:v>385.4487</c:v>
                </c:pt>
                <c:pt idx="7">
                  <c:v>591.6888</c:v>
                </c:pt>
              </c:numCache>
            </c:numRef>
          </c:xVal>
          <c:yVal>
            <c:numRef>
              <c:f>Sheet1!$B$2:$B$9</c:f>
              <c:numCache>
                <c:formatCode>General</c:formatCode>
                <c:ptCount val="8"/>
                <c:pt idx="0">
                  <c:v>0.712</c:v>
                </c:pt>
                <c:pt idx="1">
                  <c:v>1.508</c:v>
                </c:pt>
                <c:pt idx="2">
                  <c:v>1.782</c:v>
                </c:pt>
                <c:pt idx="3">
                  <c:v>1.749</c:v>
                </c:pt>
                <c:pt idx="4">
                  <c:v>1.487</c:v>
                </c:pt>
                <c:pt idx="5">
                  <c:v>0.859</c:v>
                </c:pt>
                <c:pt idx="6">
                  <c:v>1.347</c:v>
                </c:pt>
                <c:pt idx="7">
                  <c:v>2.2</c:v>
                </c:pt>
              </c:numCache>
            </c:numRef>
          </c:yVal>
          <c:bubbleSize>
            <c:numRef>
              <c:f>Sheet1!$C$2:$C$9</c:f>
              <c:numCache>
                <c:formatCode>General</c:formatCode>
                <c:ptCount val="8"/>
                <c:pt idx="0">
                  <c:v>27304308</c:v>
                </c:pt>
                <c:pt idx="1">
                  <c:v>25478849</c:v>
                </c:pt>
                <c:pt idx="2">
                  <c:v>13739569</c:v>
                </c:pt>
                <c:pt idx="3">
                  <c:v>9237082</c:v>
                </c:pt>
                <c:pt idx="4">
                  <c:v>3778774</c:v>
                </c:pt>
                <c:pt idx="5">
                  <c:v>3575795</c:v>
                </c:pt>
                <c:pt idx="6">
                  <c:v>2497322</c:v>
                </c:pt>
                <c:pt idx="7">
                  <c:v>184074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0.0"/>
          <c:min val="23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D1E8D0C-A4FD-491B-BAE3-D63FCB53FD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BB4724E-B999-471E-9B67-9179DF6B69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EE69333-1522-43BE-BF9D-B037AE6F30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0BFAE8-51C0-404A-AA68-A2275FA9B5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4495FE3-FBE6-4A3B-B024-D45E79CFCA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5C4B53C-C554-4412-B2B8-C2AC7A4A5F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9CD85F1-460A-4A50-B7A4-C8276AF6C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03863C3-A7BC-4E18-9127-4B9534385D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08.1971</c:v>
                </c:pt>
                <c:pt idx="1">
                  <c:v>75.2265</c:v>
                </c:pt>
              </c:numCache>
            </c:numRef>
          </c:xVal>
          <c:yVal>
            <c:numRef>
              <c:f>Sheet1!$B$2:$B$3</c:f>
              <c:numCache>
                <c:formatCode>General</c:formatCode>
                <c:ptCount val="2"/>
                <c:pt idx="0">
                  <c:v>1.134</c:v>
                </c:pt>
                <c:pt idx="1">
                  <c:v>0.58</c:v>
                </c:pt>
              </c:numCache>
            </c:numRef>
          </c:yVal>
          <c:bubbleSize>
            <c:numRef>
              <c:f>Sheet1!$C$2:$C$3</c:f>
              <c:numCache>
                <c:formatCode>General</c:formatCode>
                <c:ptCount val="2"/>
                <c:pt idx="0">
                  <c:v>25124804</c:v>
                </c:pt>
                <c:pt idx="1">
                  <c:v>371024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0.0"/>
          <c:min val="6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4AD4BE0-F48E-4C08-B4B9-09034CC31A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CA674FE-A942-4AD5-908B-6930FC4033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9F54DF0-0D73-43E8-9B4C-362D04C812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110146F-A2B3-4277-B746-04E371D3DF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ECF30D1-2D90-4F14-A2C0-3373ECE12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F0519BF-2A1A-4B9A-A723-88B3F7070F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4F680B4-D3D2-4910-9218-089B30F722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360BDAF-A50E-4CC7-A18A-1EE8521DFD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4.6602</c:v>
                </c:pt>
                <c:pt idx="1">
                  <c:v>196.9057</c:v>
                </c:pt>
                <c:pt idx="2">
                  <c:v>87.2075</c:v>
                </c:pt>
                <c:pt idx="3">
                  <c:v>191.1963</c:v>
                </c:pt>
                <c:pt idx="4">
                  <c:v>75.4754</c:v>
                </c:pt>
              </c:numCache>
            </c:numRef>
          </c:xVal>
          <c:yVal>
            <c:numRef>
              <c:f>Sheet1!$B$2:$B$6</c:f>
              <c:numCache>
                <c:formatCode>General</c:formatCode>
                <c:ptCount val="5"/>
                <c:pt idx="0">
                  <c:v>1.275</c:v>
                </c:pt>
                <c:pt idx="1">
                  <c:v>0.882</c:v>
                </c:pt>
                <c:pt idx="2">
                  <c:v>0.477</c:v>
                </c:pt>
                <c:pt idx="3">
                  <c:v>3.467</c:v>
                </c:pt>
                <c:pt idx="4">
                  <c:v>0.446</c:v>
                </c:pt>
              </c:numCache>
            </c:numRef>
          </c:yVal>
          <c:bubbleSize>
            <c:numRef>
              <c:f>Sheet1!$C$2:$C$6</c:f>
              <c:numCache>
                <c:formatCode>General</c:formatCode>
                <c:ptCount val="5"/>
                <c:pt idx="0">
                  <c:v>76877378</c:v>
                </c:pt>
                <c:pt idx="1">
                  <c:v>48526809</c:v>
                </c:pt>
                <c:pt idx="2">
                  <c:v>7108983</c:v>
                </c:pt>
                <c:pt idx="3">
                  <c:v>5365733</c:v>
                </c:pt>
                <c:pt idx="4">
                  <c:v>369346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4.0"/>
          <c:min val="6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24AC23C-5FEB-4181-8FE8-3EFABDD4F7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7587744-B877-4C51-A3F0-8702FF524D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69CE42F-CB92-4D23-8DF7-78B4B2948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3418FB-1EB0-48D8-871C-7D9D26BBBA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33F90B4-3E81-4680-B55B-D04032C1EF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A34FA48-6C11-4722-B002-EE63988E6D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870553E-9C1B-4647-AB85-54B8CE8EE1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393347E-DD4F-4B6E-B328-D1C886B78D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52.8728</c:v>
                </c:pt>
                <c:pt idx="1">
                  <c:v>490.4305</c:v>
                </c:pt>
                <c:pt idx="2">
                  <c:v>292.4042</c:v>
                </c:pt>
                <c:pt idx="3">
                  <c:v>574.2405</c:v>
                </c:pt>
                <c:pt idx="4">
                  <c:v>521.0262</c:v>
                </c:pt>
                <c:pt idx="5">
                  <c:v>493.8476</c:v>
                </c:pt>
                <c:pt idx="6">
                  <c:v>402.1162</c:v>
                </c:pt>
                <c:pt idx="7">
                  <c:v>321.7393</c:v>
                </c:pt>
              </c:numCache>
            </c:numRef>
          </c:xVal>
          <c:yVal>
            <c:numRef>
              <c:f>Sheet1!$B$2:$B$9</c:f>
              <c:numCache>
                <c:formatCode>General</c:formatCode>
                <c:ptCount val="8"/>
                <c:pt idx="0">
                  <c:v>1.211</c:v>
                </c:pt>
                <c:pt idx="1">
                  <c:v>1.359</c:v>
                </c:pt>
                <c:pt idx="2">
                  <c:v>0.595</c:v>
                </c:pt>
                <c:pt idx="3">
                  <c:v>1.413</c:v>
                </c:pt>
                <c:pt idx="4">
                  <c:v>1.158</c:v>
                </c:pt>
                <c:pt idx="5">
                  <c:v>1.44</c:v>
                </c:pt>
                <c:pt idx="6">
                  <c:v>1.133</c:v>
                </c:pt>
                <c:pt idx="7">
                  <c:v>0.711</c:v>
                </c:pt>
              </c:numCache>
            </c:numRef>
          </c:yVal>
          <c:bubbleSize>
            <c:numRef>
              <c:f>Sheet1!$C$2:$C$9</c:f>
              <c:numCache>
                <c:formatCode>General</c:formatCode>
                <c:ptCount val="8"/>
                <c:pt idx="0">
                  <c:v>38563986</c:v>
                </c:pt>
                <c:pt idx="1">
                  <c:v>28783855</c:v>
                </c:pt>
                <c:pt idx="2">
                  <c:v>19050720</c:v>
                </c:pt>
                <c:pt idx="3">
                  <c:v>12851502</c:v>
                </c:pt>
                <c:pt idx="4">
                  <c:v>10428339</c:v>
                </c:pt>
                <c:pt idx="5">
                  <c:v>4599203</c:v>
                </c:pt>
                <c:pt idx="6">
                  <c:v>2910115</c:v>
                </c:pt>
                <c:pt idx="7">
                  <c:v>217302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9.0"/>
          <c:min val="23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A41B543-C293-41F6-9D08-E33CA3D733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F23A651-A6AF-4A88-A9D4-808EA4B48B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E0DACF1-66BC-418F-8C1E-C88AEBE433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54910EE-22A7-4A95-822E-9BD4110F17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599425-AF03-4EB7-8AA8-78C9B9244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5BA7457-45E1-4C87-BA11-2063BC827B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AB5B866-8FE0-4EED-BCDC-1D9F33C545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5A469F7-0563-4AF5-A63D-756F9DE169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08.57</c:v>
                </c:pt>
                <c:pt idx="1">
                  <c:v>73.2487</c:v>
                </c:pt>
              </c:numCache>
            </c:numRef>
          </c:xVal>
          <c:yVal>
            <c:numRef>
              <c:f>Sheet1!$B$2:$B$3</c:f>
              <c:numCache>
                <c:formatCode>General</c:formatCode>
                <c:ptCount val="2"/>
                <c:pt idx="0">
                  <c:v>1.11</c:v>
                </c:pt>
                <c:pt idx="1">
                  <c:v>0.627</c:v>
                </c:pt>
              </c:numCache>
            </c:numRef>
          </c:yVal>
          <c:bubbleSize>
            <c:numRef>
              <c:f>Sheet1!$C$2:$C$3</c:f>
              <c:numCache>
                <c:formatCode>General</c:formatCode>
                <c:ptCount val="2"/>
                <c:pt idx="0">
                  <c:v>17081256</c:v>
                </c:pt>
                <c:pt idx="1">
                  <c:v>237391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0.0"/>
          <c:min val="5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0F2D2BDB-A72E-433A-AA12-82391E06F0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2C33D21A-C16F-4ABE-A52E-25AB6A0513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43C203EA-B0D0-46EB-872E-E3AD723AD4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4C52330D-F74A-41D7-A74F-46D984A7E0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A7286B3D-DD9E-40DF-9DA8-68A69C3A5A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7BC0CD25-F120-4F70-9358-4DAB52DFA8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7125015A-B399-48B0-BA59-BB2D1C112B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019BC50C-1828-454C-8DFE-D02B4865D8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312.9966</c:v>
                </c:pt>
                <c:pt idx="1">
                  <c:v>456.2046</c:v>
                </c:pt>
                <c:pt idx="2">
                  <c:v>468.7049</c:v>
                </c:pt>
                <c:pt idx="3">
                  <c:v>369.4107</c:v>
                </c:pt>
                <c:pt idx="4">
                  <c:v>512.5045</c:v>
                </c:pt>
                <c:pt idx="5">
                  <c:v>151.001</c:v>
                </c:pt>
                <c:pt idx="6">
                  <c:v>337.0238</c:v>
                </c:pt>
                <c:pt idx="7">
                  <c:v>63.0</c:v>
                </c:pt>
              </c:numCache>
            </c:numRef>
          </c:xVal>
          <c:yVal>
            <c:numRef>
              <c:f>Sheet1!$B$2:$B$9</c:f>
              <c:numCache>
                <c:formatCode>General</c:formatCode>
                <c:ptCount val="8"/>
                <c:pt idx="0">
                  <c:v>2.093</c:v>
                </c:pt>
                <c:pt idx="1">
                  <c:v>1.755</c:v>
                </c:pt>
                <c:pt idx="2">
                  <c:v>1.186</c:v>
                </c:pt>
                <c:pt idx="3">
                  <c:v>0.612</c:v>
                </c:pt>
                <c:pt idx="4">
                  <c:v>0.467</c:v>
                </c:pt>
                <c:pt idx="5">
                  <c:v>0.711</c:v>
                </c:pt>
                <c:pt idx="6">
                  <c:v>7.046</c:v>
                </c:pt>
                <c:pt idx="7">
                  <c:v>0.0</c:v>
                </c:pt>
              </c:numCache>
            </c:numRef>
          </c:yVal>
          <c:bubbleSize>
            <c:numRef>
              <c:f>Sheet1!$C$2:$C$9</c:f>
              <c:numCache>
                <c:formatCode>General</c:formatCode>
                <c:ptCount val="8"/>
                <c:pt idx="0">
                  <c:v>731473</c:v>
                </c:pt>
                <c:pt idx="1">
                  <c:v>697993</c:v>
                </c:pt>
                <c:pt idx="2">
                  <c:v>343092</c:v>
                </c:pt>
                <c:pt idx="3">
                  <c:v>324712</c:v>
                </c:pt>
                <c:pt idx="4">
                  <c:v>171689</c:v>
                </c:pt>
                <c:pt idx="5">
                  <c:v>154323</c:v>
                </c:pt>
                <c:pt idx="6">
                  <c:v>84930</c:v>
                </c:pt>
                <c:pt idx="7">
                  <c:v>63</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15.0"/>
          <c:min val="50.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3125547-DEAD-4EA5-9CAD-AD7B19DD0E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A6CA29E-EA68-4DD0-B74C-755F2F9A5A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8DB8AF2-2981-4EEA-B757-F09B15A716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0F49C6A-A406-46A6-99D0-B8D4C09CE1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41B038A-C3C2-4502-8B7D-8CFF00A971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1622CBF-BA37-41E4-8EB7-7AC957F023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AA632D5-638D-42DA-AD60-15735D8D3C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5DD8E50-8F93-4B54-843F-8542BCDCAE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2.1934</c:v>
                </c:pt>
                <c:pt idx="1">
                  <c:v>218.2933</c:v>
                </c:pt>
                <c:pt idx="2">
                  <c:v>91.4492</c:v>
                </c:pt>
                <c:pt idx="3">
                  <c:v>79.2122</c:v>
                </c:pt>
                <c:pt idx="4">
                  <c:v>198.3988</c:v>
                </c:pt>
              </c:numCache>
            </c:numRef>
          </c:xVal>
          <c:yVal>
            <c:numRef>
              <c:f>Sheet1!$B$2:$B$6</c:f>
              <c:numCache>
                <c:formatCode>General</c:formatCode>
                <c:ptCount val="5"/>
                <c:pt idx="0">
                  <c:v>1.186</c:v>
                </c:pt>
                <c:pt idx="1">
                  <c:v>0.937</c:v>
                </c:pt>
                <c:pt idx="2">
                  <c:v>0.496</c:v>
                </c:pt>
                <c:pt idx="3">
                  <c:v>0.471</c:v>
                </c:pt>
                <c:pt idx="4">
                  <c:v>3.87</c:v>
                </c:pt>
              </c:numCache>
            </c:numRef>
          </c:yVal>
          <c:bubbleSize>
            <c:numRef>
              <c:f>Sheet1!$C$2:$C$6</c:f>
              <c:numCache>
                <c:formatCode>General</c:formatCode>
                <c:ptCount val="5"/>
                <c:pt idx="0">
                  <c:v>106919192</c:v>
                </c:pt>
                <c:pt idx="1">
                  <c:v>56697971</c:v>
                </c:pt>
                <c:pt idx="2">
                  <c:v>7573729</c:v>
                </c:pt>
                <c:pt idx="3">
                  <c:v>7336634</c:v>
                </c:pt>
                <c:pt idx="4">
                  <c:v>43518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1.0"/>
          <c:min val="6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678D07F-44DE-4987-B718-4C058892CE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9C7410C-1C3C-4254-9B0F-D1AF4457E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E4EDD74-FBEF-4106-8EE3-0A5D3E4FF6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844FDE6-3313-4C34-9BF1-A0AF752D96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A6068BB-6FDB-467A-8BA3-4C5DC7C4DC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80D4B47-26BE-4EE8-9D8F-1B8A69B767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534C938-B6A2-414B-8E84-EC1E53C700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9E82B28-3F29-4DC3-BE7D-4462EC5579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80.8538</c:v>
                </c:pt>
                <c:pt idx="1">
                  <c:v>289.0642</c:v>
                </c:pt>
                <c:pt idx="2">
                  <c:v>605.0969</c:v>
                </c:pt>
                <c:pt idx="3">
                  <c:v>520.9909</c:v>
                </c:pt>
                <c:pt idx="4">
                  <c:v>300.5639</c:v>
                </c:pt>
                <c:pt idx="5">
                  <c:v>585.1003</c:v>
                </c:pt>
                <c:pt idx="6">
                  <c:v>386.5265</c:v>
                </c:pt>
              </c:numCache>
            </c:numRef>
          </c:xVal>
          <c:yVal>
            <c:numRef>
              <c:f>Sheet1!$B$2:$B$8</c:f>
              <c:numCache>
                <c:formatCode>General</c:formatCode>
                <c:ptCount val="7"/>
                <c:pt idx="0">
                  <c:v>0.886</c:v>
                </c:pt>
                <c:pt idx="1">
                  <c:v>2.392</c:v>
                </c:pt>
                <c:pt idx="2">
                  <c:v>2.142</c:v>
                </c:pt>
                <c:pt idx="3">
                  <c:v>2.415</c:v>
                </c:pt>
                <c:pt idx="4">
                  <c:v>1.099</c:v>
                </c:pt>
                <c:pt idx="5">
                  <c:v>2.042</c:v>
                </c:pt>
                <c:pt idx="6">
                  <c:v>4.623</c:v>
                </c:pt>
              </c:numCache>
            </c:numRef>
          </c:yVal>
          <c:bubbleSize>
            <c:numRef>
              <c:f>Sheet1!$C$2:$C$8</c:f>
              <c:numCache>
                <c:formatCode>General</c:formatCode>
                <c:ptCount val="7"/>
                <c:pt idx="0">
                  <c:v>12857206</c:v>
                </c:pt>
                <c:pt idx="1">
                  <c:v>3791655</c:v>
                </c:pt>
                <c:pt idx="2">
                  <c:v>3786091</c:v>
                </c:pt>
                <c:pt idx="3">
                  <c:v>2173053</c:v>
                </c:pt>
                <c:pt idx="4">
                  <c:v>1656708</c:v>
                </c:pt>
                <c:pt idx="5">
                  <c:v>1085361</c:v>
                </c:pt>
                <c:pt idx="6">
                  <c:v>44411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6.0"/>
          <c:min val="2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C29B41E-EFCE-4FDB-AAD3-EFC9063B10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1F3B5AA-A43A-48D9-BCA7-17F14B2CAE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920BF21-946D-42C3-8F2E-E9EF079707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1D2F1EA-1CD0-4F7C-8ACA-A63DFCB5BA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F77585C-39E3-42BD-9402-84E6515D95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80DB756-0012-41D4-ADB0-071E4B3ECC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FFA80B4-089B-4718-A8BF-18B8274705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49BBDBB-AFC6-4985-9856-7DFABC053A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32.4045</c:v>
                </c:pt>
                <c:pt idx="1">
                  <c:v>77.321</c:v>
                </c:pt>
                <c:pt idx="2">
                  <c:v>333.8077</c:v>
                </c:pt>
              </c:numCache>
            </c:numRef>
          </c:xVal>
          <c:yVal>
            <c:numRef>
              <c:f>Sheet1!$B$2:$B$4</c:f>
              <c:numCache>
                <c:formatCode>General</c:formatCode>
                <c:ptCount val="3"/>
                <c:pt idx="0">
                  <c:v>1.08</c:v>
                </c:pt>
                <c:pt idx="1">
                  <c:v>0.61</c:v>
                </c:pt>
                <c:pt idx="2">
                  <c:v>1.715</c:v>
                </c:pt>
              </c:numCache>
            </c:numRef>
          </c:yVal>
          <c:bubbleSize>
            <c:numRef>
              <c:f>Sheet1!$C$2:$C$4</c:f>
              <c:numCache>
                <c:formatCode>General</c:formatCode>
                <c:ptCount val="3"/>
                <c:pt idx="0">
                  <c:v>25254936</c:v>
                </c:pt>
                <c:pt idx="1">
                  <c:v>2580898</c:v>
                </c:pt>
                <c:pt idx="2">
                  <c:v>60919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01.0"/>
          <c:min val="6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3F5663A-5760-4A1B-B5D9-A1209AC784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7C63B57-61CF-4912-AA85-ECB4ED54E9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6FA1342-5278-4AD2-97C1-D265A8136E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2EFC18B-F484-4C88-ACE3-B5C46F1BDA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5DF4C64-44B0-4578-8BF5-5EAF19E18E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EB8884B-DE60-4129-A844-D804A5A05D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8F514E2-DB9E-4535-8341-1FC7C15147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B103158-F44B-40A8-861A-A55C611C49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1.6365</c:v>
                </c:pt>
                <c:pt idx="1">
                  <c:v>215.5777</c:v>
                </c:pt>
                <c:pt idx="2">
                  <c:v>89.6803</c:v>
                </c:pt>
                <c:pt idx="3">
                  <c:v>77.1557</c:v>
                </c:pt>
                <c:pt idx="4">
                  <c:v>191.7502</c:v>
                </c:pt>
              </c:numCache>
            </c:numRef>
          </c:xVal>
          <c:yVal>
            <c:numRef>
              <c:f>Sheet1!$B$2:$B$6</c:f>
              <c:numCache>
                <c:formatCode>General</c:formatCode>
                <c:ptCount val="5"/>
                <c:pt idx="0">
                  <c:v>1.24</c:v>
                </c:pt>
                <c:pt idx="1">
                  <c:v>0.92</c:v>
                </c:pt>
                <c:pt idx="2">
                  <c:v>0.53</c:v>
                </c:pt>
                <c:pt idx="3">
                  <c:v>0.467</c:v>
                </c:pt>
                <c:pt idx="4">
                  <c:v>3.669</c:v>
                </c:pt>
              </c:numCache>
            </c:numRef>
          </c:yVal>
          <c:bubbleSize>
            <c:numRef>
              <c:f>Sheet1!$C$2:$C$6</c:f>
              <c:numCache>
                <c:formatCode>General</c:formatCode>
                <c:ptCount val="5"/>
                <c:pt idx="0">
                  <c:v>88331422</c:v>
                </c:pt>
                <c:pt idx="1">
                  <c:v>52277149</c:v>
                </c:pt>
                <c:pt idx="2">
                  <c:v>9097885</c:v>
                </c:pt>
                <c:pt idx="3">
                  <c:v>6946792</c:v>
                </c:pt>
                <c:pt idx="4">
                  <c:v>507773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0.0"/>
          <c:min val="6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D3EC3D3-9548-4423-9BB6-2AF35EEF53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CB5D392-27B6-4DBD-BCDC-ADF9A4B25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641B167-F558-4F34-80F8-E2A5468390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09F22E6-B6DA-4583-A62C-D333E0F603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E654CF6-45F1-4526-BE69-AD21E7F573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9C8F6C5-B98C-4B11-8B0F-CDF9A08AC9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619215C-804E-48CF-8A83-9E1CA9AEAB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CF77F62-089F-4AED-BB7A-E90B8961D6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90.5508</c:v>
                </c:pt>
                <c:pt idx="1">
                  <c:v>289.0043</c:v>
                </c:pt>
                <c:pt idx="2">
                  <c:v>425.8945</c:v>
                </c:pt>
                <c:pt idx="3">
                  <c:v>592.2799</c:v>
                </c:pt>
                <c:pt idx="4">
                  <c:v>555.5334</c:v>
                </c:pt>
                <c:pt idx="5">
                  <c:v>322.9757</c:v>
                </c:pt>
                <c:pt idx="6">
                  <c:v>599.9994</c:v>
                </c:pt>
                <c:pt idx="7">
                  <c:v>398.1219</c:v>
                </c:pt>
              </c:numCache>
            </c:numRef>
          </c:xVal>
          <c:yVal>
            <c:numRef>
              <c:f>Sheet1!$B$2:$B$9</c:f>
              <c:numCache>
                <c:formatCode>General</c:formatCode>
                <c:ptCount val="8"/>
                <c:pt idx="0">
                  <c:v>1.346</c:v>
                </c:pt>
                <c:pt idx="1">
                  <c:v>0.67</c:v>
                </c:pt>
                <c:pt idx="2">
                  <c:v>1.741</c:v>
                </c:pt>
                <c:pt idx="3">
                  <c:v>1.717</c:v>
                </c:pt>
                <c:pt idx="4">
                  <c:v>1.489</c:v>
                </c:pt>
                <c:pt idx="5">
                  <c:v>0.815</c:v>
                </c:pt>
                <c:pt idx="6">
                  <c:v>2.167</c:v>
                </c:pt>
                <c:pt idx="7">
                  <c:v>1.371</c:v>
                </c:pt>
              </c:numCache>
            </c:numRef>
          </c:yVal>
          <c:bubbleSize>
            <c:numRef>
              <c:f>Sheet1!$C$2:$C$9</c:f>
              <c:numCache>
                <c:formatCode>General</c:formatCode>
                <c:ptCount val="8"/>
                <c:pt idx="0">
                  <c:v>17830499</c:v>
                </c:pt>
                <c:pt idx="1">
                  <c:v>15832523</c:v>
                </c:pt>
                <c:pt idx="2">
                  <c:v>11332201</c:v>
                </c:pt>
                <c:pt idx="3">
                  <c:v>6878146</c:v>
                </c:pt>
                <c:pt idx="4">
                  <c:v>3533748</c:v>
                </c:pt>
                <c:pt idx="5">
                  <c:v>2700077</c:v>
                </c:pt>
                <c:pt idx="6">
                  <c:v>1855198</c:v>
                </c:pt>
                <c:pt idx="7">
                  <c:v>13460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0.0"/>
          <c:min val="23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F1C5CC-0B1B-4ECF-988D-45CB664E60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3AFDFBB-EB5C-425E-B68B-FB801319F9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EA370AA-4EDB-4E74-BDA5-030714ECB4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74F7614-DB9C-4BFB-AB14-974F622CDE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7210AF3-F52F-4194-8CD9-9FC2FAACC5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449C477-9AD9-4743-A552-3353C9F72E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B393C50-769D-4A3D-B3E0-6F3C427E7E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176FEF6-C9CA-4988-BA49-3B543B5828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27.3008</c:v>
                </c:pt>
                <c:pt idx="1">
                  <c:v>74.3716</c:v>
                </c:pt>
              </c:numCache>
            </c:numRef>
          </c:xVal>
          <c:yVal>
            <c:numRef>
              <c:f>Sheet1!$B$2:$B$3</c:f>
              <c:numCache>
                <c:formatCode>General</c:formatCode>
                <c:ptCount val="2"/>
                <c:pt idx="0">
                  <c:v>1.131</c:v>
                </c:pt>
                <c:pt idx="1">
                  <c:v>0.63</c:v>
                </c:pt>
              </c:numCache>
            </c:numRef>
          </c:yVal>
          <c:bubbleSize>
            <c:numRef>
              <c:f>Sheet1!$C$2:$C$3</c:f>
              <c:numCache>
                <c:formatCode>General</c:formatCode>
                <c:ptCount val="2"/>
                <c:pt idx="0">
                  <c:v>19231920</c:v>
                </c:pt>
                <c:pt idx="1">
                  <c:v>3365985</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3.0"/>
          <c:min val="5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3F93DFC-E423-40EA-B436-F8D7674DD9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ECC1EE7-B15A-4709-981C-681BE6921A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BD0BB6B-6D41-4B3E-818F-8EC1759FE3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AA17AB6-8BF6-4196-9568-7F37AB89B6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9274627-E5B5-4DAF-8589-A30EF15326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D92F0F9-2279-4DE8-BE0C-1C44C1F76A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B729E4A-519F-4216-8008-69624D77ED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3A3F04B-9630-4772-8D04-FF83A9D40E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6.5461</c:v>
                </c:pt>
                <c:pt idx="1">
                  <c:v>223.3515</c:v>
                </c:pt>
                <c:pt idx="2">
                  <c:v>89.6069</c:v>
                </c:pt>
                <c:pt idx="3">
                  <c:v>76.3016</c:v>
                </c:pt>
                <c:pt idx="4">
                  <c:v>194.9897</c:v>
                </c:pt>
              </c:numCache>
            </c:numRef>
          </c:xVal>
          <c:yVal>
            <c:numRef>
              <c:f>Sheet1!$B$2:$B$6</c:f>
              <c:numCache>
                <c:formatCode>General</c:formatCode>
                <c:ptCount val="5"/>
                <c:pt idx="0">
                  <c:v>1.264</c:v>
                </c:pt>
                <c:pt idx="1">
                  <c:v>0.959</c:v>
                </c:pt>
                <c:pt idx="2">
                  <c:v>0.494</c:v>
                </c:pt>
                <c:pt idx="3">
                  <c:v>0.466</c:v>
                </c:pt>
                <c:pt idx="4">
                  <c:v>3.715</c:v>
                </c:pt>
              </c:numCache>
            </c:numRef>
          </c:yVal>
          <c:bubbleSize>
            <c:numRef>
              <c:f>Sheet1!$C$2:$C$6</c:f>
              <c:numCache>
                <c:formatCode>General</c:formatCode>
                <c:ptCount val="5"/>
                <c:pt idx="0">
                  <c:v>71214845</c:v>
                </c:pt>
                <c:pt idx="1">
                  <c:v>60221583</c:v>
                </c:pt>
                <c:pt idx="2">
                  <c:v>8455487</c:v>
                </c:pt>
                <c:pt idx="3">
                  <c:v>5048116</c:v>
                </c:pt>
                <c:pt idx="4">
                  <c:v>38992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6.0"/>
          <c:min val="6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F3BD819-8952-475F-A17A-D7A7023A3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D6B7C37-6E5D-4C2B-B0E8-6536976E92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A9744B8-5E42-4F44-A574-7F25CDA9C5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8996DDD-3698-4C46-9A8A-2DC3592848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BDD848A-8F42-4799-9FAC-F77A428988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966F7C6-14B5-44B6-AA74-420CD0D6FE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1E696DD-0E2C-46CF-9643-D0E0B5BC72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A640175-AF9C-468F-A48A-F4BDC34B8A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87.347</c:v>
                </c:pt>
                <c:pt idx="1">
                  <c:v>296.7036</c:v>
                </c:pt>
                <c:pt idx="2">
                  <c:v>437.9595</c:v>
                </c:pt>
                <c:pt idx="3">
                  <c:v>583.7417</c:v>
                </c:pt>
                <c:pt idx="4">
                  <c:v>541.5737</c:v>
                </c:pt>
                <c:pt idx="5">
                  <c:v>569.4195</c:v>
                </c:pt>
                <c:pt idx="6">
                  <c:v>328.0126</c:v>
                </c:pt>
                <c:pt idx="7">
                  <c:v>390.0409</c:v>
                </c:pt>
              </c:numCache>
            </c:numRef>
          </c:xVal>
          <c:yVal>
            <c:numRef>
              <c:f>Sheet1!$B$2:$B$9</c:f>
              <c:numCache>
                <c:formatCode>General</c:formatCode>
                <c:ptCount val="8"/>
                <c:pt idx="0">
                  <c:v>1.319</c:v>
                </c:pt>
                <c:pt idx="1">
                  <c:v>0.721</c:v>
                </c:pt>
                <c:pt idx="2">
                  <c:v>1.674</c:v>
                </c:pt>
                <c:pt idx="3">
                  <c:v>1.653</c:v>
                </c:pt>
                <c:pt idx="4">
                  <c:v>1.498</c:v>
                </c:pt>
                <c:pt idx="5">
                  <c:v>1.956</c:v>
                </c:pt>
                <c:pt idx="6">
                  <c:v>0.87</c:v>
                </c:pt>
                <c:pt idx="7">
                  <c:v>1.384</c:v>
                </c:pt>
              </c:numCache>
            </c:numRef>
          </c:yVal>
          <c:bubbleSize>
            <c:numRef>
              <c:f>Sheet1!$C$2:$C$9</c:f>
              <c:numCache>
                <c:formatCode>General</c:formatCode>
                <c:ptCount val="8"/>
                <c:pt idx="0">
                  <c:v>16648350</c:v>
                </c:pt>
                <c:pt idx="1">
                  <c:v>15085897</c:v>
                </c:pt>
                <c:pt idx="2">
                  <c:v>11157895</c:v>
                </c:pt>
                <c:pt idx="3">
                  <c:v>5453315</c:v>
                </c:pt>
                <c:pt idx="4">
                  <c:v>3846798</c:v>
                </c:pt>
                <c:pt idx="5">
                  <c:v>2465017</c:v>
                </c:pt>
                <c:pt idx="6">
                  <c:v>1769628</c:v>
                </c:pt>
                <c:pt idx="7">
                  <c:v>137216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5.0"/>
          <c:min val="23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6CDAF8A-03AF-41F8-9F7E-E1B3FA1BF9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A31B4F3-590C-4508-8592-F56CB5D1FF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78129BF-9DD3-446E-BC72-2DE98C8AAD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EC43812-6D39-4203-85B0-ED15DA25AB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C145CE3-5470-47E5-860C-107894AD11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6BE0D3A-FD68-4BBC-8654-FB27260A1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F4B621A-C996-417C-BFF9-765BDD20DE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DEEE4F4-2A18-439F-A86F-3D06C24A24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41.338</c:v>
                </c:pt>
                <c:pt idx="1">
                  <c:v>76.6002</c:v>
                </c:pt>
              </c:numCache>
            </c:numRef>
          </c:xVal>
          <c:yVal>
            <c:numRef>
              <c:f>Sheet1!$B$2:$B$3</c:f>
              <c:numCache>
                <c:formatCode>General</c:formatCode>
                <c:ptCount val="2"/>
                <c:pt idx="0">
                  <c:v>1.116</c:v>
                </c:pt>
                <c:pt idx="1">
                  <c:v>0.573</c:v>
                </c:pt>
              </c:numCache>
            </c:numRef>
          </c:yVal>
          <c:bubbleSize>
            <c:numRef>
              <c:f>Sheet1!$C$2:$C$3</c:f>
              <c:numCache>
                <c:formatCode>General</c:formatCode>
                <c:ptCount val="2"/>
                <c:pt idx="0">
                  <c:v>24601031</c:v>
                </c:pt>
                <c:pt idx="1">
                  <c:v>291126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0.0"/>
          <c:min val="6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632F4FF-CFB1-4E45-A3E7-B596C9302D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0FB6EB9-DEDB-4B62-91D6-6146C4971F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47241D8-78DF-44CB-AB27-F66EA9F116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A37244B-F5F7-4B25-9CE1-F3A079971C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04F2D8B-A284-487D-A228-839CBEA8A7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392C966-0046-4190-B33C-D004535E0B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9529C2F-6447-4D6A-9D52-B8C55EF32A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6CFE149-F4F5-4948-BC5A-9F413DA55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2.5107</c:v>
                </c:pt>
                <c:pt idx="1">
                  <c:v>225.7224</c:v>
                </c:pt>
                <c:pt idx="2">
                  <c:v>85.3831</c:v>
                </c:pt>
                <c:pt idx="3">
                  <c:v>187.3598</c:v>
                </c:pt>
                <c:pt idx="4">
                  <c:v>73.9093</c:v>
                </c:pt>
              </c:numCache>
            </c:numRef>
          </c:xVal>
          <c:yVal>
            <c:numRef>
              <c:f>Sheet1!$B$2:$B$6</c:f>
              <c:numCache>
                <c:formatCode>General</c:formatCode>
                <c:ptCount val="5"/>
                <c:pt idx="0">
                  <c:v>1.19</c:v>
                </c:pt>
                <c:pt idx="1">
                  <c:v>0.911</c:v>
                </c:pt>
                <c:pt idx="2">
                  <c:v>0.472</c:v>
                </c:pt>
                <c:pt idx="3">
                  <c:v>3.316</c:v>
                </c:pt>
                <c:pt idx="4">
                  <c:v>0.431</c:v>
                </c:pt>
              </c:numCache>
            </c:numRef>
          </c:yVal>
          <c:bubbleSize>
            <c:numRef>
              <c:f>Sheet1!$C$2:$C$6</c:f>
              <c:numCache>
                <c:formatCode>General</c:formatCode>
                <c:ptCount val="5"/>
                <c:pt idx="0">
                  <c:v>68815552</c:v>
                </c:pt>
                <c:pt idx="1">
                  <c:v>43677066</c:v>
                </c:pt>
                <c:pt idx="2">
                  <c:v>4260020</c:v>
                </c:pt>
                <c:pt idx="3">
                  <c:v>3010310</c:v>
                </c:pt>
                <c:pt idx="4">
                  <c:v>168261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1.0"/>
          <c:min val="5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9634CEA-0415-415D-BE4C-52F64DB395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0989B42-55EC-43ED-8631-A64F87E75D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2393D5C-936A-4E56-9E6E-4E40131ED7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F8BC2A5-DEB9-4046-9394-556192BE0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5DE2A26-5345-4227-9A91-A6B7D01DAE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CA555A5-1184-40AC-BDD9-C45B74F4B9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2DC536C-B17D-4F9B-BEDE-8FD6E47F8D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21C1027-F03A-4F91-86F9-0274F8E169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2.697</c:v>
                </c:pt>
                <c:pt idx="1">
                  <c:v>552.8728</c:v>
                </c:pt>
                <c:pt idx="2">
                  <c:v>195.1517</c:v>
                </c:pt>
                <c:pt idx="3">
                  <c:v>200.3155</c:v>
                </c:pt>
                <c:pt idx="4">
                  <c:v>467.469</c:v>
                </c:pt>
                <c:pt idx="5">
                  <c:v>291.7559</c:v>
                </c:pt>
                <c:pt idx="6">
                  <c:v>553.7422</c:v>
                </c:pt>
                <c:pt idx="7">
                  <c:v>220.0135</c:v>
                </c:pt>
              </c:numCache>
            </c:numRef>
          </c:xVal>
          <c:yVal>
            <c:numRef>
              <c:f>Sheet1!$B$2:$B$9</c:f>
              <c:numCache>
                <c:formatCode>General</c:formatCode>
                <c:ptCount val="8"/>
                <c:pt idx="0">
                  <c:v>0.884</c:v>
                </c:pt>
                <c:pt idx="1">
                  <c:v>3.394</c:v>
                </c:pt>
                <c:pt idx="2">
                  <c:v>0.583</c:v>
                </c:pt>
                <c:pt idx="3">
                  <c:v>0.57</c:v>
                </c:pt>
                <c:pt idx="4">
                  <c:v>4.613</c:v>
                </c:pt>
                <c:pt idx="5">
                  <c:v>1.687</c:v>
                </c:pt>
                <c:pt idx="6">
                  <c:v>3.766</c:v>
                </c:pt>
                <c:pt idx="7">
                  <c:v>2.17</c:v>
                </c:pt>
              </c:numCache>
            </c:numRef>
          </c:yVal>
          <c:bubbleSize>
            <c:numRef>
              <c:f>Sheet1!$C$2:$C$9</c:f>
              <c:numCache>
                <c:formatCode>General</c:formatCode>
                <c:ptCount val="8"/>
                <c:pt idx="0">
                  <c:v>77861555</c:v>
                </c:pt>
                <c:pt idx="1">
                  <c:v>38563986</c:v>
                </c:pt>
                <c:pt idx="2">
                  <c:v>34244636</c:v>
                </c:pt>
                <c:pt idx="3">
                  <c:v>32745172</c:v>
                </c:pt>
                <c:pt idx="4">
                  <c:v>25602342</c:v>
                </c:pt>
                <c:pt idx="5">
                  <c:v>19448156</c:v>
                </c:pt>
                <c:pt idx="6">
                  <c:v>14026291</c:v>
                </c:pt>
                <c:pt idx="7">
                  <c:v>191719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4.0"/>
          <c:min val="156.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1F6A3DE2-9229-4DCB-9809-825A75539A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CCAFF3FE-D716-409F-8286-D49187F61E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EAF53D0D-0A68-4D32-B3AF-7FA425A049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CCB298B5-91C8-4D04-A228-F70E8C1319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D3F36B48-68CF-4F6C-B0E6-5D1AEBB4E1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9C2A341F-B8A1-4AA4-849A-C9DEADBDF3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B54A27BD-250B-4582-94F4-BC7EF8CA36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C63C7A05-6A42-4CC2-95F3-671098C0FF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68.9831</c:v>
                </c:pt>
                <c:pt idx="1">
                  <c:v>249.026</c:v>
                </c:pt>
                <c:pt idx="2">
                  <c:v>224.2826</c:v>
                </c:pt>
                <c:pt idx="3">
                  <c:v>132.2308</c:v>
                </c:pt>
                <c:pt idx="4">
                  <c:v>320.8378</c:v>
                </c:pt>
              </c:numCache>
            </c:numRef>
          </c:xVal>
          <c:yVal>
            <c:numRef>
              <c:f>Sheet1!$B$2:$B$6</c:f>
              <c:numCache>
                <c:formatCode>General</c:formatCode>
                <c:ptCount val="5"/>
                <c:pt idx="0">
                  <c:v>1.043</c:v>
                </c:pt>
                <c:pt idx="1">
                  <c:v>1.15</c:v>
                </c:pt>
                <c:pt idx="2">
                  <c:v>0.869</c:v>
                </c:pt>
                <c:pt idx="3">
                  <c:v>0.835</c:v>
                </c:pt>
                <c:pt idx="4">
                  <c:v>1.291</c:v>
                </c:pt>
              </c:numCache>
            </c:numRef>
          </c:yVal>
          <c:bubbleSize>
            <c:numRef>
              <c:f>Sheet1!$C$2:$C$6</c:f>
              <c:numCache>
                <c:formatCode>General</c:formatCode>
                <c:ptCount val="5"/>
                <c:pt idx="0">
                  <c:v>2737172</c:v>
                </c:pt>
                <c:pt idx="1">
                  <c:v>1255340</c:v>
                </c:pt>
                <c:pt idx="2">
                  <c:v>671502</c:v>
                </c:pt>
                <c:pt idx="3">
                  <c:v>179305</c:v>
                </c:pt>
                <c:pt idx="4">
                  <c:v>59355</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85.0"/>
          <c:min val="106.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6CE1941-241D-4B76-97DC-21A495686E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2B92F78-1564-4317-B8AC-4B1A7C528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38D88EB-3F89-48CB-AE93-296BC32CB3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0BE3545-FB16-44C7-BA09-B4419E07A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19FB571-9EA1-4E6D-AD61-45C5C2E020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B149CD4-C84C-48C1-B0CD-C43FC1717C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0BBC36E-31D5-4E95-A3F7-6D0755D93F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62BAA38-B0B7-4DE6-95FB-CCD5316951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4.3934</c:v>
                </c:pt>
                <c:pt idx="1">
                  <c:v>391.1483</c:v>
                </c:pt>
                <c:pt idx="2">
                  <c:v>600.3644</c:v>
                </c:pt>
                <c:pt idx="3">
                  <c:v>601.637</c:v>
                </c:pt>
                <c:pt idx="4">
                  <c:v>322.1038</c:v>
                </c:pt>
                <c:pt idx="5">
                  <c:v>564.3082</c:v>
                </c:pt>
                <c:pt idx="6">
                  <c:v>519.033</c:v>
                </c:pt>
                <c:pt idx="7">
                  <c:v>397.9702</c:v>
                </c:pt>
              </c:numCache>
            </c:numRef>
          </c:xVal>
          <c:yVal>
            <c:numRef>
              <c:f>Sheet1!$B$2:$B$9</c:f>
              <c:numCache>
                <c:formatCode>General</c:formatCode>
                <c:ptCount val="8"/>
                <c:pt idx="0">
                  <c:v>0.812</c:v>
                </c:pt>
                <c:pt idx="1">
                  <c:v>2.095</c:v>
                </c:pt>
                <c:pt idx="2">
                  <c:v>1.707</c:v>
                </c:pt>
                <c:pt idx="3">
                  <c:v>2.229</c:v>
                </c:pt>
                <c:pt idx="4">
                  <c:v>1.038</c:v>
                </c:pt>
                <c:pt idx="5">
                  <c:v>2.006</c:v>
                </c:pt>
                <c:pt idx="6">
                  <c:v>2.079</c:v>
                </c:pt>
                <c:pt idx="7">
                  <c:v>2.429</c:v>
                </c:pt>
              </c:numCache>
            </c:numRef>
          </c:yVal>
          <c:bubbleSize>
            <c:numRef>
              <c:f>Sheet1!$C$2:$C$9</c:f>
              <c:numCache>
                <c:formatCode>General</c:formatCode>
                <c:ptCount val="8"/>
                <c:pt idx="0">
                  <c:v>9055836</c:v>
                </c:pt>
                <c:pt idx="1">
                  <c:v>6227863</c:v>
                </c:pt>
                <c:pt idx="2">
                  <c:v>5824135</c:v>
                </c:pt>
                <c:pt idx="3">
                  <c:v>2633967</c:v>
                </c:pt>
                <c:pt idx="4">
                  <c:v>1150877</c:v>
                </c:pt>
                <c:pt idx="5">
                  <c:v>1107737</c:v>
                </c:pt>
                <c:pt idx="6">
                  <c:v>692390</c:v>
                </c:pt>
                <c:pt idx="7">
                  <c:v>6411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2.0"/>
          <c:min val="23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0F07AD6-B5E3-4A40-860D-09BA1B9C96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9A70878-1700-47E4-97A3-294E7A744D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DF7FFBE-7A36-446E-A2A3-C9B9211FB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5DEADE7-1BCF-4B6D-84B4-2F759A51AB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E6C63FF-69A1-4C4D-9AE6-BB424EF33A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F85B372-744E-4FDC-BE2A-C6BA41A33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2170EFF-8912-435D-A65B-4037BE9A7D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3F93F7C-6285-4844-AF12-8BB685CE6F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45.6543</c:v>
                </c:pt>
                <c:pt idx="1">
                  <c:v>68.655</c:v>
                </c:pt>
              </c:numCache>
            </c:numRef>
          </c:xVal>
          <c:yVal>
            <c:numRef>
              <c:f>Sheet1!$B$2:$B$3</c:f>
              <c:numCache>
                <c:formatCode>General</c:formatCode>
                <c:ptCount val="2"/>
                <c:pt idx="0">
                  <c:v>1.083</c:v>
                </c:pt>
                <c:pt idx="1">
                  <c:v>0.522</c:v>
                </c:pt>
              </c:numCache>
            </c:numRef>
          </c:yVal>
          <c:bubbleSize>
            <c:numRef>
              <c:f>Sheet1!$C$2:$C$3</c:f>
              <c:numCache>
                <c:formatCode>General</c:formatCode>
                <c:ptCount val="2"/>
                <c:pt idx="0">
                  <c:v>19643995</c:v>
                </c:pt>
                <c:pt idx="1">
                  <c:v>12480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5.0"/>
          <c:min val="5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BF17F7E-2577-482B-A9E0-1F801C1E7B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CFECF36-2196-4BC4-8652-775EF48A60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23F8FC7-EDC9-4454-B757-5189A78263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8FFCEE1-894A-4FE2-B8DC-5F9DDE8A38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53584D9-7985-48AB-A24F-88F1D4C05B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DD3B87F-C4AF-4759-ACBD-D31D373CC3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D71D75C-27CD-404C-927E-37731C1A18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915A46A-A799-4ED3-AC0D-E2A1DB0881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8.4139</c:v>
                </c:pt>
                <c:pt idx="1">
                  <c:v>239.1778</c:v>
                </c:pt>
                <c:pt idx="2">
                  <c:v>290.3998</c:v>
                </c:pt>
                <c:pt idx="3">
                  <c:v>84.7762</c:v>
                </c:pt>
                <c:pt idx="4">
                  <c:v>583.2216</c:v>
                </c:pt>
                <c:pt idx="5">
                  <c:v>291.1712</c:v>
                </c:pt>
                <c:pt idx="6">
                  <c:v>76.9486</c:v>
                </c:pt>
                <c:pt idx="7">
                  <c:v>524.0125</c:v>
                </c:pt>
              </c:numCache>
            </c:numRef>
          </c:xVal>
          <c:yVal>
            <c:numRef>
              <c:f>Sheet1!$B$2:$B$9</c:f>
              <c:numCache>
                <c:formatCode>General</c:formatCode>
                <c:ptCount val="8"/>
                <c:pt idx="0">
                  <c:v>1.422</c:v>
                </c:pt>
                <c:pt idx="1">
                  <c:v>0.691</c:v>
                </c:pt>
                <c:pt idx="2">
                  <c:v>1.986</c:v>
                </c:pt>
                <c:pt idx="3">
                  <c:v>0.413</c:v>
                </c:pt>
                <c:pt idx="4">
                  <c:v>7.76</c:v>
                </c:pt>
                <c:pt idx="5">
                  <c:v>3.731</c:v>
                </c:pt>
                <c:pt idx="6">
                  <c:v>0.387</c:v>
                </c:pt>
                <c:pt idx="7">
                  <c:v>5.025</c:v>
                </c:pt>
              </c:numCache>
            </c:numRef>
          </c:yVal>
          <c:bubbleSize>
            <c:numRef>
              <c:f>Sheet1!$C$2:$C$9</c:f>
              <c:numCache>
                <c:formatCode>General</c:formatCode>
                <c:ptCount val="8"/>
                <c:pt idx="0">
                  <c:v>236619686</c:v>
                </c:pt>
                <c:pt idx="1">
                  <c:v>141024256</c:v>
                </c:pt>
                <c:pt idx="2">
                  <c:v>99185766</c:v>
                </c:pt>
                <c:pt idx="3">
                  <c:v>61989834</c:v>
                </c:pt>
                <c:pt idx="4">
                  <c:v>54751094</c:v>
                </c:pt>
                <c:pt idx="5">
                  <c:v>42322603</c:v>
                </c:pt>
                <c:pt idx="6">
                  <c:v>32892975</c:v>
                </c:pt>
                <c:pt idx="7">
                  <c:v>1427357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0.0"/>
          <c:min val="6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443FB25-3A08-4804-BF3B-9251EE386C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A167B1F-8467-4622-A0A5-0236D2D413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E265031-08B7-49A4-95E0-78E1787CF8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E356244-5192-49BF-8AD7-B188AD94F3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059B53B-D067-4AC5-A767-768A1CFD47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6D09073-B778-4A0A-9C89-1F3ED95390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19226B3-5905-44F0-8687-717439E19D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BADCC91-3411-40D3-9C65-88DA827931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79.9191</c:v>
                </c:pt>
                <c:pt idx="1">
                  <c:v>228.0115</c:v>
                </c:pt>
                <c:pt idx="2">
                  <c:v>262.3981</c:v>
                </c:pt>
              </c:numCache>
            </c:numRef>
          </c:xVal>
          <c:yVal>
            <c:numRef>
              <c:f>Sheet1!$B$2:$B$4</c:f>
              <c:numCache>
                <c:formatCode>General</c:formatCode>
                <c:ptCount val="3"/>
                <c:pt idx="0">
                  <c:v>0.912</c:v>
                </c:pt>
                <c:pt idx="1">
                  <c:v>0.982</c:v>
                </c:pt>
                <c:pt idx="2">
                  <c:v>4.72</c:v>
                </c:pt>
              </c:numCache>
            </c:numRef>
          </c:yVal>
          <c:bubbleSize>
            <c:numRef>
              <c:f>Sheet1!$C$2:$C$4</c:f>
              <c:numCache>
                <c:formatCode>General</c:formatCode>
                <c:ptCount val="3"/>
                <c:pt idx="0">
                  <c:v>175716875</c:v>
                </c:pt>
                <c:pt idx="1">
                  <c:v>160563414</c:v>
                </c:pt>
                <c:pt idx="2">
                  <c:v>2190000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5.0"/>
          <c:min val="14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67F2DC0-8D7D-4ED5-A058-A5A1557687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77DB0DD-297C-4560-A9FC-7DC8FC6499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4780730-4BDC-424A-B1D7-5B7135D0A7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7EF733E-698C-4BD4-8A35-99E000C230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7881213-8011-4146-9651-42A238D530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67395A2-EDB9-47C6-84E6-7D6D4B684B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9427BB6-9CC8-4661-86EF-BCCC6A62FB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9E3DF48-9A7A-4CE2-B03E-835B6A3FB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74.9487</c:v>
                </c:pt>
                <c:pt idx="1">
                  <c:v>147.8315</c:v>
                </c:pt>
                <c:pt idx="2">
                  <c:v>589.7992</c:v>
                </c:pt>
                <c:pt idx="3">
                  <c:v>539.3711</c:v>
                </c:pt>
                <c:pt idx="4">
                  <c:v>567.2019</c:v>
                </c:pt>
              </c:numCache>
            </c:numRef>
          </c:xVal>
          <c:yVal>
            <c:numRef>
              <c:f>Sheet1!$B$2:$B$6</c:f>
              <c:numCache>
                <c:formatCode>General</c:formatCode>
                <c:ptCount val="5"/>
                <c:pt idx="0">
                  <c:v>1.136</c:v>
                </c:pt>
                <c:pt idx="1">
                  <c:v>0.4</c:v>
                </c:pt>
                <c:pt idx="2">
                  <c:v>1.805</c:v>
                </c:pt>
                <c:pt idx="3">
                  <c:v>8.558</c:v>
                </c:pt>
                <c:pt idx="4">
                  <c:v>52.46</c:v>
                </c:pt>
              </c:numCache>
            </c:numRef>
          </c:yVal>
          <c:bubbleSize>
            <c:numRef>
              <c:f>Sheet1!$C$2:$C$6</c:f>
              <c:numCache>
                <c:formatCode>General</c:formatCode>
                <c:ptCount val="5"/>
                <c:pt idx="0">
                  <c:v>103041984</c:v>
                </c:pt>
                <c:pt idx="1">
                  <c:v>16666372</c:v>
                </c:pt>
                <c:pt idx="2">
                  <c:v>16169345</c:v>
                </c:pt>
                <c:pt idx="3">
                  <c:v>5506979</c:v>
                </c:pt>
                <c:pt idx="4">
                  <c:v>157341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8.0"/>
          <c:min val="1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6A33A0-C0F1-416C-BAA5-9ED52C33F5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908C642-6204-4A89-B263-C29C24631C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8653CB-6B53-4A22-A31E-A9548022FD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641C6BD-A6FA-4A30-9ADF-C5CD238059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ADE48ED-D32C-4E37-A657-BEB14B2B02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12F0924-6029-4B16-895E-2CE0296F2F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F1238EF-49D3-4F50-9CBF-6ABFD42E8F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AFEB290-BA4D-4BF7-B579-6C5F8C3865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551.9562</c:v>
                </c:pt>
                <c:pt idx="1">
                  <c:v>288.9089</c:v>
                </c:pt>
                <c:pt idx="2">
                  <c:v>580.106</c:v>
                </c:pt>
                <c:pt idx="3">
                  <c:v>533.7915</c:v>
                </c:pt>
                <c:pt idx="4">
                  <c:v>369.1292</c:v>
                </c:pt>
                <c:pt idx="5">
                  <c:v>269.4524</c:v>
                </c:pt>
              </c:numCache>
            </c:numRef>
          </c:xVal>
          <c:yVal>
            <c:numRef>
              <c:f>Sheet1!$B$2:$B$7</c:f>
              <c:numCache>
                <c:formatCode>General</c:formatCode>
                <c:ptCount val="6"/>
                <c:pt idx="0">
                  <c:v>1.123</c:v>
                </c:pt>
                <c:pt idx="1">
                  <c:v>0.655</c:v>
                </c:pt>
                <c:pt idx="2">
                  <c:v>1.301</c:v>
                </c:pt>
                <c:pt idx="3">
                  <c:v>1.852</c:v>
                </c:pt>
                <c:pt idx="4">
                  <c:v>1.389</c:v>
                </c:pt>
                <c:pt idx="5">
                  <c:v>0.516</c:v>
                </c:pt>
              </c:numCache>
            </c:numRef>
          </c:yVal>
          <c:bubbleSize>
            <c:numRef>
              <c:f>Sheet1!$C$2:$C$7</c:f>
              <c:numCache>
                <c:formatCode>General</c:formatCode>
                <c:ptCount val="6"/>
                <c:pt idx="0">
                  <c:v>17135479</c:v>
                </c:pt>
                <c:pt idx="1">
                  <c:v>15762002</c:v>
                </c:pt>
                <c:pt idx="2">
                  <c:v>14920906</c:v>
                </c:pt>
                <c:pt idx="3">
                  <c:v>4767826</c:v>
                </c:pt>
                <c:pt idx="4">
                  <c:v>2334373</c:v>
                </c:pt>
                <c:pt idx="5">
                  <c:v>67605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6.0"/>
          <c:min val="21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E780181-F255-4BBA-8C71-58B29E9B16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9FA1A3D-FCC1-433A-9AF7-AB62ACD662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6327904-340F-4C42-9DA1-D5E62E3A7D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8A0D557-BEFD-45FB-B570-AE82DAE82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6F791B1-FA63-47C9-B3B6-E54103075B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CFBEA98-5F36-4E5A-8DF7-EE264698AF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113A029-F001-4291-9DC5-132FAF1942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F849DC7-7EE2-48B3-B55F-6D73E430B1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68.0593</c:v>
                </c:pt>
                <c:pt idx="1">
                  <c:v>286.9622</c:v>
                </c:pt>
                <c:pt idx="2">
                  <c:v>574.6985</c:v>
                </c:pt>
              </c:numCache>
            </c:numRef>
          </c:xVal>
          <c:yVal>
            <c:numRef>
              <c:f>Sheet1!$B$2:$B$4</c:f>
              <c:numCache>
                <c:formatCode>General</c:formatCode>
                <c:ptCount val="3"/>
                <c:pt idx="0">
                  <c:v>0.949</c:v>
                </c:pt>
                <c:pt idx="1">
                  <c:v>1.028</c:v>
                </c:pt>
                <c:pt idx="2">
                  <c:v>4.316</c:v>
                </c:pt>
              </c:numCache>
            </c:numRef>
          </c:yVal>
          <c:bubbleSize>
            <c:numRef>
              <c:f>Sheet1!$C$2:$C$4</c:f>
              <c:numCache>
                <c:formatCode>General</c:formatCode>
                <c:ptCount val="3"/>
                <c:pt idx="0">
                  <c:v>77896971</c:v>
                </c:pt>
                <c:pt idx="1">
                  <c:v>47692253</c:v>
                </c:pt>
                <c:pt idx="2">
                  <c:v>32878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0.0"/>
          <c:min val="2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DBB498-89E0-449E-8F43-F0420EABBE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3DFDF5D-65A5-469F-A178-F0562B9D44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24EA343-6770-4407-B53A-0F7E72010C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B49336D-620D-4A15-9EEF-92E92A7D8F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8CCA5A5-7C2E-4717-A289-960DB691A8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4FE0779-843F-4F58-822C-5156EAC5BD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186A804-96B2-4777-B7E3-9543A2E653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9DB7430-31F7-43FA-B8DC-E434E85B10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7.2333</c:v>
                </c:pt>
                <c:pt idx="1">
                  <c:v>239.3628</c:v>
                </c:pt>
                <c:pt idx="2">
                  <c:v>289.7526</c:v>
                </c:pt>
                <c:pt idx="3">
                  <c:v>605.1103</c:v>
                </c:pt>
                <c:pt idx="4">
                  <c:v>84.542</c:v>
                </c:pt>
                <c:pt idx="5">
                  <c:v>249.9313</c:v>
                </c:pt>
                <c:pt idx="6">
                  <c:v>76.5351</c:v>
                </c:pt>
                <c:pt idx="7">
                  <c:v>337.2149</c:v>
                </c:pt>
              </c:numCache>
            </c:numRef>
          </c:xVal>
          <c:yVal>
            <c:numRef>
              <c:f>Sheet1!$B$2:$B$9</c:f>
              <c:numCache>
                <c:formatCode>General</c:formatCode>
                <c:ptCount val="8"/>
                <c:pt idx="0">
                  <c:v>1.377</c:v>
                </c:pt>
                <c:pt idx="1">
                  <c:v>0.675</c:v>
                </c:pt>
                <c:pt idx="2">
                  <c:v>1.937</c:v>
                </c:pt>
                <c:pt idx="3">
                  <c:v>7.54</c:v>
                </c:pt>
                <c:pt idx="4">
                  <c:v>0.395</c:v>
                </c:pt>
                <c:pt idx="5">
                  <c:v>3.481</c:v>
                </c:pt>
                <c:pt idx="6">
                  <c:v>0.376</c:v>
                </c:pt>
                <c:pt idx="7">
                  <c:v>2.329</c:v>
                </c:pt>
              </c:numCache>
            </c:numRef>
          </c:yVal>
          <c:bubbleSize>
            <c:numRef>
              <c:f>Sheet1!$C$2:$C$9</c:f>
              <c:numCache>
                <c:formatCode>General</c:formatCode>
                <c:ptCount val="8"/>
                <c:pt idx="0">
                  <c:v>53595231</c:v>
                </c:pt>
                <c:pt idx="1">
                  <c:v>30376338</c:v>
                </c:pt>
                <c:pt idx="2">
                  <c:v>27303679</c:v>
                </c:pt>
                <c:pt idx="3">
                  <c:v>13297903</c:v>
                </c:pt>
                <c:pt idx="4">
                  <c:v>13020400</c:v>
                </c:pt>
                <c:pt idx="5">
                  <c:v>9052510</c:v>
                </c:pt>
                <c:pt idx="6">
                  <c:v>8185349</c:v>
                </c:pt>
                <c:pt idx="7">
                  <c:v>3039655</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6.0"/>
          <c:min val="6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F0DC8B0-DCC2-404E-B07E-FC2EE0FD22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A540214-AF6A-4FFA-B525-BC4AD2D5B4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B86E1D1-ADDD-46CB-99A8-EFE0C30286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F114407-808B-4513-B7B6-0D756C6F21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C19D6AC-B5DE-430F-A5B3-7D9E28785D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27B0E06-BE52-4277-9C7D-AEC671D33E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3BFA88A-BA0F-42C4-8854-5ED8FF5B89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5D90AFC-0BBF-4DEB-BCC9-C00CC22A70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73.6155</c:v>
                </c:pt>
                <c:pt idx="1">
                  <c:v>231.7578</c:v>
                </c:pt>
                <c:pt idx="2">
                  <c:v>252.6918</c:v>
                </c:pt>
              </c:numCache>
            </c:numRef>
          </c:xVal>
          <c:yVal>
            <c:numRef>
              <c:f>Sheet1!$B$2:$B$4</c:f>
              <c:numCache>
                <c:formatCode>General</c:formatCode>
                <c:ptCount val="3"/>
                <c:pt idx="0">
                  <c:v>0.914</c:v>
                </c:pt>
                <c:pt idx="1">
                  <c:v>0.972</c:v>
                </c:pt>
                <c:pt idx="2">
                  <c:v>4.545</c:v>
                </c:pt>
              </c:numCache>
            </c:numRef>
          </c:yVal>
          <c:bubbleSize>
            <c:numRef>
              <c:f>Sheet1!$C$2:$C$4</c:f>
              <c:numCache>
                <c:formatCode>General</c:formatCode>
                <c:ptCount val="3"/>
                <c:pt idx="0">
                  <c:v>43187366</c:v>
                </c:pt>
                <c:pt idx="1">
                  <c:v>32892227</c:v>
                </c:pt>
                <c:pt idx="2">
                  <c:v>555012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3.0"/>
          <c:min val="13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EDD32B2-1BCA-485F-9AF8-5D29B498EF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024CEC0-043B-4E42-9CCA-F13D099E4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08761FA-6105-418C-87F5-CC6049DAAC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E097A0A-831F-4D6F-A527-2460F86CCC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D88D0E2-2C3D-4D0D-9CCA-4BB8088CFE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789618A-BBB4-48DB-8DF9-48C67EF09D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BE6BAFB-C39D-4042-B22B-BFD30516B7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A8EA257-2CCF-4053-B43B-4B17749B0D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77.9453</c:v>
                </c:pt>
                <c:pt idx="1">
                  <c:v>593.1544</c:v>
                </c:pt>
                <c:pt idx="2">
                  <c:v>151.5721</c:v>
                </c:pt>
                <c:pt idx="3">
                  <c:v>557.7117</c:v>
                </c:pt>
                <c:pt idx="4">
                  <c:v>439.1394</c:v>
                </c:pt>
              </c:numCache>
            </c:numRef>
          </c:xVal>
          <c:yVal>
            <c:numRef>
              <c:f>Sheet1!$B$2:$B$6</c:f>
              <c:numCache>
                <c:formatCode>General</c:formatCode>
                <c:ptCount val="5"/>
                <c:pt idx="0">
                  <c:v>1.14</c:v>
                </c:pt>
                <c:pt idx="1">
                  <c:v>1.745</c:v>
                </c:pt>
                <c:pt idx="2">
                  <c:v>0.393</c:v>
                </c:pt>
                <c:pt idx="3">
                  <c:v>8.957</c:v>
                </c:pt>
                <c:pt idx="4">
                  <c:v>3.332</c:v>
                </c:pt>
              </c:numCache>
            </c:numRef>
          </c:yVal>
          <c:bubbleSize>
            <c:numRef>
              <c:f>Sheet1!$C$2:$C$6</c:f>
              <c:numCache>
                <c:formatCode>General</c:formatCode>
                <c:ptCount val="5"/>
                <c:pt idx="0">
                  <c:v>21580787</c:v>
                </c:pt>
                <c:pt idx="1">
                  <c:v>3569010</c:v>
                </c:pt>
                <c:pt idx="2">
                  <c:v>3408553</c:v>
                </c:pt>
                <c:pt idx="3">
                  <c:v>924686</c:v>
                </c:pt>
                <c:pt idx="4">
                  <c:v>3622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2.0"/>
          <c:min val="12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C5A73D05-88B4-4A3F-A64C-BA9DEFD3DB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B59833FA-FB1E-40F6-844C-3A03B0F12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5FBE8850-32CB-4D4E-93F5-5CBF530085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765DC702-5C01-45A1-B86B-1628D08319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B785B652-0311-4D83-B9CA-1858B30349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A3C4F047-1012-464A-8BB3-F60B8C3DDC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9C981209-1262-4A14-A97A-6AEF0481FC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D81DEE23-879C-4ED5-BFBB-0FC447E662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68.8724</c:v>
                </c:pt>
                <c:pt idx="1">
                  <c:v>135.2869</c:v>
                </c:pt>
                <c:pt idx="2">
                  <c:v>116.2015</c:v>
                </c:pt>
              </c:numCache>
            </c:numRef>
          </c:xVal>
          <c:yVal>
            <c:numRef>
              <c:f>Sheet1!$B$2:$B$4</c:f>
              <c:numCache>
                <c:formatCode>General</c:formatCode>
                <c:ptCount val="3"/>
                <c:pt idx="0">
                  <c:v>1.264</c:v>
                </c:pt>
                <c:pt idx="1">
                  <c:v>0.804</c:v>
                </c:pt>
                <c:pt idx="2">
                  <c:v>1.042</c:v>
                </c:pt>
              </c:numCache>
            </c:numRef>
          </c:yVal>
          <c:bubbleSize>
            <c:numRef>
              <c:f>Sheet1!$C$2:$C$4</c:f>
              <c:numCache>
                <c:formatCode>General</c:formatCode>
                <c:ptCount val="3"/>
                <c:pt idx="0">
                  <c:v>1565109</c:v>
                </c:pt>
                <c:pt idx="1">
                  <c:v>1453252</c:v>
                </c:pt>
                <c:pt idx="2">
                  <c:v>69302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3.0"/>
          <c:min val="9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0984C9D-9229-40D5-A0E1-A7C371A70D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925A44A-8D72-4BC7-9C28-6926BB6C5B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472B2F9-8E4C-41A3-8B89-B2B7A4C958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CBFEC8C-07A6-494E-BEB2-D6CFFACE4A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427AFA0-D906-46A6-AE1C-648A92B298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7726487-B97A-42DB-AA0D-B14288F684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0D2F32E-19F0-41D8-A8C6-37BB70ADE0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E84C104-C2E5-4AD6-8EF5-0C74CC3ECA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99.288</c:v>
                </c:pt>
                <c:pt idx="1">
                  <c:v>597.2138</c:v>
                </c:pt>
                <c:pt idx="2">
                  <c:v>592.0807</c:v>
                </c:pt>
                <c:pt idx="3">
                  <c:v>527.8218</c:v>
                </c:pt>
                <c:pt idx="4">
                  <c:v>392.7601</c:v>
                </c:pt>
                <c:pt idx="5">
                  <c:v>271.2401</c:v>
                </c:pt>
              </c:numCache>
            </c:numRef>
          </c:xVal>
          <c:yVal>
            <c:numRef>
              <c:f>Sheet1!$B$2:$B$7</c:f>
              <c:numCache>
                <c:formatCode>General</c:formatCode>
                <c:ptCount val="6"/>
                <c:pt idx="0">
                  <c:v>0.703</c:v>
                </c:pt>
                <c:pt idx="1">
                  <c:v>1.276</c:v>
                </c:pt>
                <c:pt idx="2">
                  <c:v>1.268</c:v>
                </c:pt>
                <c:pt idx="3">
                  <c:v>3.38</c:v>
                </c:pt>
                <c:pt idx="4">
                  <c:v>1.738</c:v>
                </c:pt>
                <c:pt idx="5">
                  <c:v>0.52</c:v>
                </c:pt>
              </c:numCache>
            </c:numRef>
          </c:yVal>
          <c:bubbleSize>
            <c:numRef>
              <c:f>Sheet1!$C$2:$C$7</c:f>
              <c:numCache>
                <c:formatCode>General</c:formatCode>
                <c:ptCount val="6"/>
                <c:pt idx="0">
                  <c:v>3972749</c:v>
                </c:pt>
                <c:pt idx="1">
                  <c:v>3184941</c:v>
                </c:pt>
                <c:pt idx="2">
                  <c:v>2691007</c:v>
                </c:pt>
                <c:pt idx="3">
                  <c:v>562658</c:v>
                </c:pt>
                <c:pt idx="4">
                  <c:v>379799</c:v>
                </c:pt>
                <c:pt idx="5">
                  <c:v>25984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7.0"/>
          <c:min val="21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4E0A73F-F047-4A44-9979-58F4E7D2D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42A4DBB-240D-47B0-B7C0-3338B93AA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BF6FDD8-BDE9-42EF-889A-264F44AD07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D396CE0-2685-41E9-9335-DB1D1640B3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A881F2A-75D8-44A3-B3B4-4FFB941C52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1D2EFA-4DE0-4FCA-ABB8-2FB232B246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6B02567-3B87-42F0-A904-1C589968FE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FB72B1D-B299-4B98-972F-ADDE0F91F8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63.8487</c:v>
                </c:pt>
                <c:pt idx="1">
                  <c:v>283.4463</c:v>
                </c:pt>
                <c:pt idx="2">
                  <c:v>571.7643</c:v>
                </c:pt>
              </c:numCache>
            </c:numRef>
          </c:xVal>
          <c:yVal>
            <c:numRef>
              <c:f>Sheet1!$B$2:$B$4</c:f>
              <c:numCache>
                <c:formatCode>General</c:formatCode>
                <c:ptCount val="3"/>
                <c:pt idx="0">
                  <c:v>0.918</c:v>
                </c:pt>
                <c:pt idx="1">
                  <c:v>1.044</c:v>
                </c:pt>
                <c:pt idx="2">
                  <c:v>4.298</c:v>
                </c:pt>
              </c:numCache>
            </c:numRef>
          </c:yVal>
          <c:bubbleSize>
            <c:numRef>
              <c:f>Sheet1!$C$2:$C$4</c:f>
              <c:numCache>
                <c:formatCode>General</c:formatCode>
                <c:ptCount val="3"/>
                <c:pt idx="0">
                  <c:v>10676902</c:v>
                </c:pt>
                <c:pt idx="1">
                  <c:v>8636891</c:v>
                </c:pt>
                <c:pt idx="2">
                  <c:v>9096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6.0"/>
          <c:min val="21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366AA7B-EB06-45F0-9A49-2EC9853E31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A7DC444-43CB-4CA2-B784-3E2B7D796C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43EBC2-D0CA-4F9E-B6E4-25A0BBE3AE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DF1524A-3A43-4934-A93F-061ECAFA76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71EA616-C266-43A5-8308-88E711F7B6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32BD41D-F61A-40E3-87AB-CCD1C326AA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E1C7A68-FBB3-47A5-B5AE-3B4DA58D1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1DFAB34-4360-486A-ABAF-2347B6EAD7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0.2336</c:v>
                </c:pt>
                <c:pt idx="1">
                  <c:v>557.1028</c:v>
                </c:pt>
                <c:pt idx="2">
                  <c:v>292.4117</c:v>
                </c:pt>
                <c:pt idx="3">
                  <c:v>231.829</c:v>
                </c:pt>
                <c:pt idx="4">
                  <c:v>368.9119</c:v>
                </c:pt>
                <c:pt idx="5">
                  <c:v>83.2358</c:v>
                </c:pt>
                <c:pt idx="6">
                  <c:v>503.936</c:v>
                </c:pt>
                <c:pt idx="7">
                  <c:v>75.4754</c:v>
                </c:pt>
              </c:numCache>
            </c:numRef>
          </c:xVal>
          <c:yVal>
            <c:numRef>
              <c:f>Sheet1!$B$2:$B$9</c:f>
              <c:numCache>
                <c:formatCode>General</c:formatCode>
                <c:ptCount val="8"/>
                <c:pt idx="0">
                  <c:v>1.244</c:v>
                </c:pt>
                <c:pt idx="1">
                  <c:v>5.613</c:v>
                </c:pt>
                <c:pt idx="2">
                  <c:v>1.616</c:v>
                </c:pt>
                <c:pt idx="3">
                  <c:v>0.532</c:v>
                </c:pt>
                <c:pt idx="4">
                  <c:v>3.093</c:v>
                </c:pt>
                <c:pt idx="5">
                  <c:v>0.323</c:v>
                </c:pt>
                <c:pt idx="6">
                  <c:v>3.534</c:v>
                </c:pt>
                <c:pt idx="7">
                  <c:v>0.304</c:v>
                </c:pt>
              </c:numCache>
            </c:numRef>
          </c:yVal>
          <c:bubbleSize>
            <c:numRef>
              <c:f>Sheet1!$C$2:$C$9</c:f>
              <c:numCache>
                <c:formatCode>General</c:formatCode>
                <c:ptCount val="8"/>
                <c:pt idx="0">
                  <c:v>43147779</c:v>
                </c:pt>
                <c:pt idx="1">
                  <c:v>21833973</c:v>
                </c:pt>
                <c:pt idx="2">
                  <c:v>19050625</c:v>
                </c:pt>
                <c:pt idx="3">
                  <c:v>18901019</c:v>
                </c:pt>
                <c:pt idx="4">
                  <c:v>13538697</c:v>
                </c:pt>
                <c:pt idx="5">
                  <c:v>9482301</c:v>
                </c:pt>
                <c:pt idx="6">
                  <c:v>6103673</c:v>
                </c:pt>
                <c:pt idx="7">
                  <c:v>369346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9.0"/>
          <c:min val="6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1901CFD-6E82-43BD-9380-65A8CF459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3E42C3-4745-46EE-918A-FC242E0D05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6CE1E36-4BA2-47A8-859A-A14758B8E0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E191E12-AF64-47E2-9C3A-412AFFBBD7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7455FD4-6087-4F66-AEB8-B9E67F5F4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140B494-8BAC-4BE8-8519-6D8C741BA0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491CA95-27C5-4416-94F0-DA41BDB5CA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CB24938-98B4-4285-83A4-D291D3794F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65.183</c:v>
                </c:pt>
                <c:pt idx="1">
                  <c:v>231.6029</c:v>
                </c:pt>
                <c:pt idx="2">
                  <c:v>290.2383</c:v>
                </c:pt>
                <c:pt idx="3">
                  <c:v>488.5123</c:v>
                </c:pt>
              </c:numCache>
            </c:numRef>
          </c:xVal>
          <c:yVal>
            <c:numRef>
              <c:f>Sheet1!$B$2:$B$5</c:f>
              <c:numCache>
                <c:formatCode>General</c:formatCode>
                <c:ptCount val="4"/>
                <c:pt idx="0">
                  <c:v>0.884</c:v>
                </c:pt>
                <c:pt idx="1">
                  <c:v>0.968</c:v>
                </c:pt>
                <c:pt idx="2">
                  <c:v>4.79</c:v>
                </c:pt>
                <c:pt idx="3">
                  <c:v>2.99</c:v>
                </c:pt>
              </c:numCache>
            </c:numRef>
          </c:yVal>
          <c:bubbleSize>
            <c:numRef>
              <c:f>Sheet1!$C$2:$C$5</c:f>
              <c:numCache>
                <c:formatCode>General</c:formatCode>
                <c:ptCount val="4"/>
                <c:pt idx="0">
                  <c:v>27437069</c:v>
                </c:pt>
                <c:pt idx="1">
                  <c:v>19954208</c:v>
                </c:pt>
                <c:pt idx="2">
                  <c:v>4268244</c:v>
                </c:pt>
                <c:pt idx="3">
                  <c:v>63506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86.0"/>
          <c:min val="13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0B7DB74-634D-46DB-87DE-5CE315F18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E30D26F-5437-49C9-933A-E730994A5F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37AAE24-74F0-42F3-A18D-0F8A6AD8DA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D81DB4E-0EAD-41BF-BAB1-E71EF9D61E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5082175-259C-4BFD-A48C-E3F691FD9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F44AB9C-3189-43A2-BF8A-E0C85EC842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5B2E0E3-DFA4-4B1B-A23A-A889B80EE6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B2D88B1-2A6E-43DF-9EF4-A8F048C745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98.2628</c:v>
                </c:pt>
                <c:pt idx="1">
                  <c:v>568.3691</c:v>
                </c:pt>
                <c:pt idx="2">
                  <c:v>524.5302</c:v>
                </c:pt>
                <c:pt idx="3">
                  <c:v>135.133</c:v>
                </c:pt>
                <c:pt idx="4">
                  <c:v>484.1768</c:v>
                </c:pt>
                <c:pt idx="5">
                  <c:v>503.7749</c:v>
                </c:pt>
              </c:numCache>
            </c:numRef>
          </c:xVal>
          <c:yVal>
            <c:numRef>
              <c:f>Sheet1!$B$2:$B$7</c:f>
              <c:numCache>
                <c:formatCode>General</c:formatCode>
                <c:ptCount val="6"/>
                <c:pt idx="0">
                  <c:v>0.992</c:v>
                </c:pt>
                <c:pt idx="1">
                  <c:v>1.398</c:v>
                </c:pt>
                <c:pt idx="2">
                  <c:v>6.251</c:v>
                </c:pt>
                <c:pt idx="3">
                  <c:v>0.302</c:v>
                </c:pt>
                <c:pt idx="4">
                  <c:v>17.97</c:v>
                </c:pt>
                <c:pt idx="5">
                  <c:v>3.184</c:v>
                </c:pt>
              </c:numCache>
            </c:numRef>
          </c:yVal>
          <c:bubbleSize>
            <c:numRef>
              <c:f>Sheet1!$C$2:$C$7</c:f>
              <c:numCache>
                <c:formatCode>General</c:formatCode>
                <c:ptCount val="6"/>
                <c:pt idx="0">
                  <c:v>17955419</c:v>
                </c:pt>
                <c:pt idx="1">
                  <c:v>4669152</c:v>
                </c:pt>
                <c:pt idx="2">
                  <c:v>2022064</c:v>
                </c:pt>
                <c:pt idx="3">
                  <c:v>1605920</c:v>
                </c:pt>
                <c:pt idx="4">
                  <c:v>635240</c:v>
                </c:pt>
                <c:pt idx="5">
                  <c:v>39395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2.0"/>
          <c:min val="10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E05F70A-3825-446F-9E75-9EE6EAD320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7DFD9C7-7A9E-4394-8E04-5BC2EC7A9F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39B16C2-43BD-4986-9E75-2E6EC75831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ABCA485-CC7F-4180-80C1-08D71BA080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56A98C8-947D-4D6F-B170-E2F3BD7935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F44CA03-99D1-4472-8443-2DAA53A0FB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6E4355A-32B0-4E89-A930-0C126854D1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AD69DFA-8E38-470C-9A1B-648F9CDC5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528.6275</c:v>
                </c:pt>
                <c:pt idx="1">
                  <c:v>549.8038</c:v>
                </c:pt>
                <c:pt idx="2">
                  <c:v>293.6263</c:v>
                </c:pt>
                <c:pt idx="3">
                  <c:v>529.0403</c:v>
                </c:pt>
                <c:pt idx="4">
                  <c:v>362.6623</c:v>
                </c:pt>
              </c:numCache>
            </c:numRef>
          </c:xVal>
          <c:yVal>
            <c:numRef>
              <c:f>Sheet1!$B$2:$B$6</c:f>
              <c:numCache>
                <c:formatCode>General</c:formatCode>
                <c:ptCount val="5"/>
                <c:pt idx="0">
                  <c:v>1.029</c:v>
                </c:pt>
                <c:pt idx="1">
                  <c:v>1.105</c:v>
                </c:pt>
                <c:pt idx="2">
                  <c:v>0.674</c:v>
                </c:pt>
                <c:pt idx="3">
                  <c:v>1.228</c:v>
                </c:pt>
                <c:pt idx="4">
                  <c:v>1.175</c:v>
                </c:pt>
              </c:numCache>
            </c:numRef>
          </c:yVal>
          <c:bubbleSize>
            <c:numRef>
              <c:f>Sheet1!$C$2:$C$6</c:f>
              <c:numCache>
                <c:formatCode>General</c:formatCode>
                <c:ptCount val="5"/>
                <c:pt idx="0">
                  <c:v>8379275</c:v>
                </c:pt>
                <c:pt idx="1">
                  <c:v>5299559</c:v>
                </c:pt>
                <c:pt idx="2">
                  <c:v>3320914</c:v>
                </c:pt>
                <c:pt idx="3">
                  <c:v>2663718</c:v>
                </c:pt>
                <c:pt idx="4">
                  <c:v>80329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0.0"/>
          <c:min val="23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6EDD54F-BCB7-440B-A8E1-CCF2C37C6C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DB44BF5-D553-4444-9654-FECFA6C317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41B413C-B44A-4AFA-B55C-4D88E22EE3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7D0B421-BA65-4C96-AF9E-3C6DE99BB9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375BD97-D06D-47DE-9593-3188516C02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065895E-3A75-4096-B508-0CA593F653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8412526-9A90-4705-9D46-8A498AF79D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37A1A27-EE24-43D5-9A0E-917184F40C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40.8593</c:v>
                </c:pt>
                <c:pt idx="1">
                  <c:v>291.4696</c:v>
                </c:pt>
                <c:pt idx="2">
                  <c:v>565.6129</c:v>
                </c:pt>
                <c:pt idx="3">
                  <c:v>670.1106</c:v>
                </c:pt>
              </c:numCache>
            </c:numRef>
          </c:xVal>
          <c:yVal>
            <c:numRef>
              <c:f>Sheet1!$B$2:$B$5</c:f>
              <c:numCache>
                <c:formatCode>General</c:formatCode>
                <c:ptCount val="4"/>
                <c:pt idx="0">
                  <c:v>0.85</c:v>
                </c:pt>
                <c:pt idx="1">
                  <c:v>1.047</c:v>
                </c:pt>
                <c:pt idx="2">
                  <c:v>4.134</c:v>
                </c:pt>
                <c:pt idx="3">
                  <c:v>2.572</c:v>
                </c:pt>
              </c:numCache>
            </c:numRef>
          </c:yVal>
          <c:bubbleSize>
            <c:numRef>
              <c:f>Sheet1!$C$2:$C$5</c:f>
              <c:numCache>
                <c:formatCode>General</c:formatCode>
                <c:ptCount val="4"/>
                <c:pt idx="0">
                  <c:v>8342885</c:v>
                </c:pt>
                <c:pt idx="1">
                  <c:v>4499124</c:v>
                </c:pt>
                <c:pt idx="2">
                  <c:v>914596</c:v>
                </c:pt>
                <c:pt idx="3">
                  <c:v>47845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04.0"/>
          <c:min val="19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E3ABBBC-92F3-49F4-AE9A-47DF23B026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F3394EF-AFD6-4CF5-95EA-6C5230C867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3CB9E32-0D74-4370-ACAA-E901774A92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E7E78D0-9DC1-4AF6-9A4C-CDFD64580C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C0F6824-F33C-457F-8AD7-99A5794F6C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91F41A4-6CE9-4C41-BCCA-2B100CBFC0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8C87F9F-2C1A-46BD-A91C-50F881E5DE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1ABC2D2-36BD-40EE-96CE-D80B96514C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6.8424</c:v>
                </c:pt>
                <c:pt idx="1">
                  <c:v>237.4628</c:v>
                </c:pt>
                <c:pt idx="2">
                  <c:v>280.8538</c:v>
                </c:pt>
                <c:pt idx="3">
                  <c:v>87.3857</c:v>
                </c:pt>
                <c:pt idx="4">
                  <c:v>79.2122</c:v>
                </c:pt>
                <c:pt idx="5">
                  <c:v>210.9619</c:v>
                </c:pt>
                <c:pt idx="6">
                  <c:v>609.8011</c:v>
                </c:pt>
                <c:pt idx="7">
                  <c:v>314.0153</c:v>
                </c:pt>
              </c:numCache>
            </c:numRef>
          </c:xVal>
          <c:yVal>
            <c:numRef>
              <c:f>Sheet1!$B$2:$B$9</c:f>
              <c:numCache>
                <c:formatCode>General</c:formatCode>
                <c:ptCount val="8"/>
                <c:pt idx="0">
                  <c:v>1.502</c:v>
                </c:pt>
                <c:pt idx="1">
                  <c:v>0.822</c:v>
                </c:pt>
                <c:pt idx="2">
                  <c:v>2.135</c:v>
                </c:pt>
                <c:pt idx="3">
                  <c:v>0.491</c:v>
                </c:pt>
                <c:pt idx="4">
                  <c:v>0.465</c:v>
                </c:pt>
                <c:pt idx="5">
                  <c:v>4.036</c:v>
                </c:pt>
                <c:pt idx="6">
                  <c:v>12.891</c:v>
                </c:pt>
                <c:pt idx="7">
                  <c:v>2.777</c:v>
                </c:pt>
              </c:numCache>
            </c:numRef>
          </c:yVal>
          <c:bubbleSize>
            <c:numRef>
              <c:f>Sheet1!$C$2:$C$9</c:f>
              <c:numCache>
                <c:formatCode>General</c:formatCode>
                <c:ptCount val="8"/>
                <c:pt idx="0">
                  <c:v>39983973</c:v>
                </c:pt>
                <c:pt idx="1">
                  <c:v>23304363</c:v>
                </c:pt>
                <c:pt idx="2">
                  <c:v>12857206</c:v>
                </c:pt>
                <c:pt idx="3">
                  <c:v>10153173</c:v>
                </c:pt>
                <c:pt idx="4">
                  <c:v>7336634</c:v>
                </c:pt>
                <c:pt idx="5">
                  <c:v>3409356</c:v>
                </c:pt>
                <c:pt idx="6">
                  <c:v>1489744</c:v>
                </c:pt>
                <c:pt idx="7">
                  <c:v>129499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2.0"/>
          <c:min val="6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5AABD94-267D-4053-8C2B-1FFECEB703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15C7C7B-BA18-4991-B56B-99ED0F0A32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0608F5F-CF1A-4194-B35E-725647CA5B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B90CB4F-65C8-46ED-AC86-4CD240246F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E6F09CD-5F20-4B97-AE67-5B6B0EA8F0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95444C2-32DE-4FB6-8A36-180B139D1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89357ED-5868-4CCE-A8F8-B3D407DC58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3BBC9B8-7DD2-4435-9F8E-BF88492FEF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28.9508</c:v>
                </c:pt>
                <c:pt idx="1">
                  <c:v>190.9768</c:v>
                </c:pt>
                <c:pt idx="2">
                  <c:v>247.7015</c:v>
                </c:pt>
                <c:pt idx="3">
                  <c:v>241.4935</c:v>
                </c:pt>
              </c:numCache>
            </c:numRef>
          </c:xVal>
          <c:yVal>
            <c:numRef>
              <c:f>Sheet1!$B$2:$B$5</c:f>
              <c:numCache>
                <c:formatCode>General</c:formatCode>
                <c:ptCount val="4"/>
                <c:pt idx="0">
                  <c:v>1.011</c:v>
                </c:pt>
                <c:pt idx="1">
                  <c:v>0.92</c:v>
                </c:pt>
                <c:pt idx="2">
                  <c:v>4.945</c:v>
                </c:pt>
                <c:pt idx="3">
                  <c:v>0.908</c:v>
                </c:pt>
              </c:numCache>
            </c:numRef>
          </c:yVal>
          <c:bubbleSize>
            <c:numRef>
              <c:f>Sheet1!$C$2:$C$5</c:f>
              <c:numCache>
                <c:formatCode>General</c:formatCode>
                <c:ptCount val="4"/>
                <c:pt idx="0">
                  <c:v>34329797</c:v>
                </c:pt>
                <c:pt idx="1">
                  <c:v>28843604</c:v>
                </c:pt>
                <c:pt idx="2">
                  <c:v>2840888</c:v>
                </c:pt>
                <c:pt idx="3">
                  <c:v>70129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7.0"/>
          <c:min val="15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D836634-34DA-4022-B172-AEBFA0E40F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69A5372-0E8F-4AA2-BE89-5327006C61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E598091-8054-44A2-B384-D73CC70AAA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023D4FD-BE16-4237-8929-EB1CF2F56D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DB632C0-35FF-4532-B6F5-39E5408321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8986583-3676-435C-ACFE-D427EDA78C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65E3815-3678-4DDF-9360-588B74B577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568C00B-9193-4275-8C78-27DADCCE50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50.6369</c:v>
                </c:pt>
                <c:pt idx="1">
                  <c:v>144.1141</c:v>
                </c:pt>
                <c:pt idx="2">
                  <c:v>598.6777</c:v>
                </c:pt>
              </c:numCache>
            </c:numRef>
          </c:xVal>
          <c:yVal>
            <c:numRef>
              <c:f>Sheet1!$B$2:$B$4</c:f>
              <c:numCache>
                <c:formatCode>General</c:formatCode>
                <c:ptCount val="3"/>
                <c:pt idx="0">
                  <c:v>1.253</c:v>
                </c:pt>
                <c:pt idx="1">
                  <c:v>0.498</c:v>
                </c:pt>
                <c:pt idx="2">
                  <c:v>2.25</c:v>
                </c:pt>
              </c:numCache>
            </c:numRef>
          </c:yVal>
          <c:bubbleSize>
            <c:numRef>
              <c:f>Sheet1!$C$2:$C$4</c:f>
              <c:numCache>
                <c:formatCode>General</c:formatCode>
                <c:ptCount val="3"/>
                <c:pt idx="0">
                  <c:v>21111396</c:v>
                </c:pt>
                <c:pt idx="1">
                  <c:v>4165474</c:v>
                </c:pt>
                <c:pt idx="2">
                  <c:v>70584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8.0"/>
          <c:min val="11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2B28EF-5622-41EC-91B9-47CCDBE39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DDA8FE7-504F-4337-BB94-3DBC9D4666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0484586-8F60-4BF1-8975-CE348CB74E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5B1CB94-6749-4AEA-8003-B39723FDD8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A84D000-E191-4AB5-817B-1903142B0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F595B92-CDA9-4607-B294-350B8EB2DB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7189DC1-CC96-4311-866A-A3C1014C10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04AA61C-D469-42D4-8195-E59DB10893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2.5107</c:v>
                </c:pt>
                <c:pt idx="1">
                  <c:v>219.0699</c:v>
                </c:pt>
                <c:pt idx="2">
                  <c:v>246.8326</c:v>
                </c:pt>
                <c:pt idx="3">
                  <c:v>295.5479</c:v>
                </c:pt>
                <c:pt idx="4">
                  <c:v>600.3644</c:v>
                </c:pt>
                <c:pt idx="5">
                  <c:v>80.9225</c:v>
                </c:pt>
                <c:pt idx="6">
                  <c:v>559.7216</c:v>
                </c:pt>
                <c:pt idx="7">
                  <c:v>222.3146</c:v>
                </c:pt>
              </c:numCache>
            </c:numRef>
          </c:xVal>
          <c:yVal>
            <c:numRef>
              <c:f>Sheet1!$B$2:$B$9</c:f>
              <c:numCache>
                <c:formatCode>General</c:formatCode>
                <c:ptCount val="8"/>
                <c:pt idx="0">
                  <c:v>1.089</c:v>
                </c:pt>
                <c:pt idx="1">
                  <c:v>0.799</c:v>
                </c:pt>
                <c:pt idx="2">
                  <c:v>0.829</c:v>
                </c:pt>
                <c:pt idx="3">
                  <c:v>2.131</c:v>
                </c:pt>
                <c:pt idx="4">
                  <c:v>4.408</c:v>
                </c:pt>
                <c:pt idx="5">
                  <c:v>0.422</c:v>
                </c:pt>
                <c:pt idx="6">
                  <c:v>7.727</c:v>
                </c:pt>
                <c:pt idx="7">
                  <c:v>2.75</c:v>
                </c:pt>
              </c:numCache>
            </c:numRef>
          </c:yVal>
          <c:bubbleSize>
            <c:numRef>
              <c:f>Sheet1!$C$2:$C$9</c:f>
              <c:numCache>
                <c:formatCode>General</c:formatCode>
                <c:ptCount val="8"/>
                <c:pt idx="0">
                  <c:v>68815552</c:v>
                </c:pt>
                <c:pt idx="1">
                  <c:v>31676853</c:v>
                </c:pt>
                <c:pt idx="2">
                  <c:v>30151588</c:v>
                </c:pt>
                <c:pt idx="3">
                  <c:v>9309759</c:v>
                </c:pt>
                <c:pt idx="4">
                  <c:v>5824135</c:v>
                </c:pt>
                <c:pt idx="5">
                  <c:v>5507100</c:v>
                </c:pt>
                <c:pt idx="6">
                  <c:v>3172502</c:v>
                </c:pt>
                <c:pt idx="7">
                  <c:v>14926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0.0"/>
          <c:min val="65.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1BAC782-277B-4CF4-B394-6D631FC493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B05D2E4-6DFB-4BC6-BA78-80F3F38072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8EE277D-DCE3-4B5E-9F04-4FA27AC16A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A4227D5-52B8-4D52-AA99-F245CF4441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6B5E198-AE1E-4D18-9154-3C82F0FD37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2F16505-1E11-467D-8F70-98479BCA5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AB90742-910C-4E94-BC9B-0E93A8E895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71AC419-4601-4542-A9E5-CF14C5D766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66.2998</c:v>
                </c:pt>
                <c:pt idx="1">
                  <c:v>617.1397</c:v>
                </c:pt>
                <c:pt idx="2">
                  <c:v>530.0423</c:v>
                </c:pt>
                <c:pt idx="3">
                  <c:v>298.6997</c:v>
                </c:pt>
                <c:pt idx="4">
                  <c:v>261.8225</c:v>
                </c:pt>
                <c:pt idx="5">
                  <c:v>609.027</c:v>
                </c:pt>
              </c:numCache>
            </c:numRef>
          </c:xVal>
          <c:yVal>
            <c:numRef>
              <c:f>Sheet1!$B$2:$B$7</c:f>
              <c:numCache>
                <c:formatCode>General</c:formatCode>
                <c:ptCount val="6"/>
                <c:pt idx="0">
                  <c:v>0.741</c:v>
                </c:pt>
                <c:pt idx="1">
                  <c:v>12.285</c:v>
                </c:pt>
                <c:pt idx="2">
                  <c:v>3.656</c:v>
                </c:pt>
                <c:pt idx="3">
                  <c:v>1.449</c:v>
                </c:pt>
                <c:pt idx="4">
                  <c:v>0.604</c:v>
                </c:pt>
                <c:pt idx="5">
                  <c:v>0.0</c:v>
                </c:pt>
              </c:numCache>
            </c:numRef>
          </c:yVal>
          <c:bubbleSize>
            <c:numRef>
              <c:f>Sheet1!$C$2:$C$7</c:f>
              <c:numCache>
                <c:formatCode>General</c:formatCode>
                <c:ptCount val="6"/>
                <c:pt idx="0">
                  <c:v>2030536</c:v>
                </c:pt>
                <c:pt idx="1">
                  <c:v>560980</c:v>
                </c:pt>
                <c:pt idx="2">
                  <c:v>200356</c:v>
                </c:pt>
                <c:pt idx="3">
                  <c:v>172051</c:v>
                </c:pt>
                <c:pt idx="4">
                  <c:v>104729</c:v>
                </c:pt>
                <c:pt idx="5">
                  <c:v>6760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41.0"/>
          <c:min val="20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0E166DE-B2E7-4D50-A1F2-075A81DEDC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7413253-126F-4EC5-8822-8D971A84DB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5B85892-BC03-4E28-9FC6-3DF318D3A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ADD86F8-6D9F-45BA-9889-8B55D56D73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B9FA147-2D93-449D-85B1-D9F4162EFF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78928D7-0E26-4FC4-848C-04F6DAAE0F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9965CDF-AFCE-4B17-A20F-74575481C4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72E8CA4-D26E-46F2-8522-1E321FF87E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60.9771</c:v>
                </c:pt>
                <c:pt idx="1">
                  <c:v>285.0353</c:v>
                </c:pt>
              </c:numCache>
            </c:numRef>
          </c:xVal>
          <c:yVal>
            <c:numRef>
              <c:f>Sheet1!$B$2:$B$3</c:f>
              <c:numCache>
                <c:formatCode>General</c:formatCode>
                <c:ptCount val="2"/>
                <c:pt idx="0">
                  <c:v>0.963</c:v>
                </c:pt>
                <c:pt idx="1">
                  <c:v>1.046</c:v>
                </c:pt>
              </c:numCache>
            </c:numRef>
          </c:yVal>
          <c:bubbleSize>
            <c:numRef>
              <c:f>Sheet1!$C$2:$C$3</c:f>
              <c:numCache>
                <c:formatCode>General</c:formatCode>
                <c:ptCount val="2"/>
                <c:pt idx="0">
                  <c:v>17806465</c:v>
                </c:pt>
                <c:pt idx="1">
                  <c:v>126823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2.0"/>
          <c:min val="20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D021AB1-D8B5-4452-8E18-4F0B317C32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4804F20-D5A1-45C2-A74E-B841301082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9B11E7E-57F7-4F42-9831-1E72FAE621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369CC6A-1492-4279-B1BF-06E7F8398A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9AF2178-A1B2-43D4-B97C-0DF59372A2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2A04407-BE48-4664-8980-3D9F1152C3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2606E46-7782-448F-B4C9-F5015F7864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A2AA823-8BC9-4D2F-A8A8-561D6B4B85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9.4069</c:v>
                </c:pt>
                <c:pt idx="1">
                  <c:v>236.8812</c:v>
                </c:pt>
                <c:pt idx="2">
                  <c:v>289.0043</c:v>
                </c:pt>
                <c:pt idx="3">
                  <c:v>84.957</c:v>
                </c:pt>
                <c:pt idx="4">
                  <c:v>601.1332</c:v>
                </c:pt>
                <c:pt idx="5">
                  <c:v>77.1557</c:v>
                </c:pt>
                <c:pt idx="6">
                  <c:v>285.6064</c:v>
                </c:pt>
                <c:pt idx="7">
                  <c:v>335.3085</c:v>
                </c:pt>
              </c:numCache>
            </c:numRef>
          </c:xVal>
          <c:yVal>
            <c:numRef>
              <c:f>Sheet1!$B$2:$B$9</c:f>
              <c:numCache>
                <c:formatCode>General</c:formatCode>
                <c:ptCount val="8"/>
                <c:pt idx="0">
                  <c:v>1.488</c:v>
                </c:pt>
                <c:pt idx="1">
                  <c:v>0.721</c:v>
                </c:pt>
                <c:pt idx="2">
                  <c:v>2.035</c:v>
                </c:pt>
                <c:pt idx="3">
                  <c:v>0.452</c:v>
                </c:pt>
                <c:pt idx="4">
                  <c:v>8.591</c:v>
                </c:pt>
                <c:pt idx="5">
                  <c:v>0.404</c:v>
                </c:pt>
                <c:pt idx="6">
                  <c:v>3.89</c:v>
                </c:pt>
                <c:pt idx="7">
                  <c:v>2.483</c:v>
                </c:pt>
              </c:numCache>
            </c:numRef>
          </c:yVal>
          <c:bubbleSize>
            <c:numRef>
              <c:f>Sheet1!$C$2:$C$9</c:f>
              <c:numCache>
                <c:formatCode>General</c:formatCode>
                <c:ptCount val="8"/>
                <c:pt idx="0">
                  <c:v>39348677</c:v>
                </c:pt>
                <c:pt idx="1">
                  <c:v>24221340</c:v>
                </c:pt>
                <c:pt idx="2">
                  <c:v>15832523</c:v>
                </c:pt>
                <c:pt idx="3">
                  <c:v>12463529</c:v>
                </c:pt>
                <c:pt idx="4">
                  <c:v>7913318</c:v>
                </c:pt>
                <c:pt idx="5">
                  <c:v>6946792</c:v>
                </c:pt>
                <c:pt idx="6">
                  <c:v>6671195</c:v>
                </c:pt>
                <c:pt idx="7">
                  <c:v>223784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1.0"/>
          <c:min val="6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8C26A1F-C7A0-4A02-BD4F-09E72CE68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07FB3ED-0A9E-4CFE-88D3-489841CCF3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0E90E4F-83BF-4CA1-80CD-0C048865A8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C35A4B9-3B16-4941-A1C5-8A1B3DE366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6972083-F238-4D61-B277-53D1239562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95E3355-F123-4AD8-9E03-2B3C079ED6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8FC0AB6-485B-40AC-852C-E9E0682150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A5EEF0A-5937-4FB9-A09A-BDC3CF8A1D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27.559</c:v>
                </c:pt>
                <c:pt idx="1">
                  <c:v>187.665</c:v>
                </c:pt>
                <c:pt idx="2">
                  <c:v>258.9713</c:v>
                </c:pt>
              </c:numCache>
            </c:numRef>
          </c:xVal>
          <c:yVal>
            <c:numRef>
              <c:f>Sheet1!$B$2:$B$4</c:f>
              <c:numCache>
                <c:formatCode>General</c:formatCode>
                <c:ptCount val="3"/>
                <c:pt idx="0">
                  <c:v>0.984</c:v>
                </c:pt>
                <c:pt idx="1">
                  <c:v>0.905</c:v>
                </c:pt>
                <c:pt idx="2">
                  <c:v>4.645</c:v>
                </c:pt>
              </c:numCache>
            </c:numRef>
          </c:yVal>
          <c:bubbleSize>
            <c:numRef>
              <c:f>Sheet1!$C$2:$C$4</c:f>
              <c:numCache>
                <c:formatCode>General</c:formatCode>
                <c:ptCount val="3"/>
                <c:pt idx="0">
                  <c:v>28455346</c:v>
                </c:pt>
                <c:pt idx="1">
                  <c:v>28123855</c:v>
                </c:pt>
                <c:pt idx="2">
                  <c:v>35673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1.0"/>
          <c:min val="15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4FAC2D9-BC7A-4BF4-99F2-95DB65167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2BB4B7F-ACA0-467A-B8A1-1F34FC3D80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CB733F-45D0-4F13-AC1F-CE1BA46F9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DDDEA96-02E0-4702-A526-E0D99FCB4E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CAC31AA-029C-4DAC-8AC9-5B1F153CA9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549FDAE-90BF-44DE-A322-C6E7314B2D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095748B-53C3-4E9C-B9B1-227A70EB7F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BA76E01-EEE9-4F85-8B43-D5CC8E8DF8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73.7419</c:v>
                </c:pt>
                <c:pt idx="1">
                  <c:v>601.0742</c:v>
                </c:pt>
                <c:pt idx="2">
                  <c:v>150.3644</c:v>
                </c:pt>
                <c:pt idx="3">
                  <c:v>561.3767</c:v>
                </c:pt>
                <c:pt idx="4">
                  <c:v>636.5479</c:v>
                </c:pt>
              </c:numCache>
            </c:numRef>
          </c:xVal>
          <c:yVal>
            <c:numRef>
              <c:f>Sheet1!$B$2:$B$6</c:f>
              <c:numCache>
                <c:formatCode>General</c:formatCode>
                <c:ptCount val="5"/>
                <c:pt idx="0">
                  <c:v>1.089</c:v>
                </c:pt>
                <c:pt idx="1">
                  <c:v>1.745</c:v>
                </c:pt>
                <c:pt idx="2">
                  <c:v>0.386</c:v>
                </c:pt>
                <c:pt idx="3">
                  <c:v>8.334</c:v>
                </c:pt>
                <c:pt idx="4">
                  <c:v>0.0</c:v>
                </c:pt>
              </c:numCache>
            </c:numRef>
          </c:yVal>
          <c:bubbleSize>
            <c:numRef>
              <c:f>Sheet1!$C$2:$C$6</c:f>
              <c:numCache>
                <c:formatCode>General</c:formatCode>
                <c:ptCount val="5"/>
                <c:pt idx="0">
                  <c:v>17917777</c:v>
                </c:pt>
                <c:pt idx="1">
                  <c:v>3238588</c:v>
                </c:pt>
                <c:pt idx="2">
                  <c:v>2349443</c:v>
                </c:pt>
                <c:pt idx="3">
                  <c:v>798839</c:v>
                </c:pt>
                <c:pt idx="4">
                  <c:v>27880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64.0"/>
          <c:min val="12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7FD9C30-E3C8-4AC2-8FBC-2B17EB2229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11AD758-DF0B-4C18-8D06-0561BE6432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5B025F3-65D2-478E-8C87-801C5E2D7C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06400AA-A988-478C-9248-7CB26AB03D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3BCFE4E-9BEB-4A6C-8652-DE1641AD54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2E383BB-DC45-4CC6-9497-6754565818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9F09FFE-9328-49A5-90AB-20B2147ECE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D7B89B2-46BD-4BD2-A4EF-4708D464F2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96.4894</c:v>
                </c:pt>
                <c:pt idx="1">
                  <c:v>571.565</c:v>
                </c:pt>
                <c:pt idx="2">
                  <c:v>596.1074</c:v>
                </c:pt>
                <c:pt idx="3">
                  <c:v>535.9268</c:v>
                </c:pt>
                <c:pt idx="4">
                  <c:v>453.0601</c:v>
                </c:pt>
              </c:numCache>
            </c:numRef>
          </c:xVal>
          <c:yVal>
            <c:numRef>
              <c:f>Sheet1!$B$2:$B$6</c:f>
              <c:numCache>
                <c:formatCode>General</c:formatCode>
                <c:ptCount val="5"/>
                <c:pt idx="0">
                  <c:v>0.627</c:v>
                </c:pt>
                <c:pt idx="1">
                  <c:v>1.087</c:v>
                </c:pt>
                <c:pt idx="2">
                  <c:v>1.258</c:v>
                </c:pt>
                <c:pt idx="3">
                  <c:v>11.086</c:v>
                </c:pt>
                <c:pt idx="4">
                  <c:v>2.271</c:v>
                </c:pt>
              </c:numCache>
            </c:numRef>
          </c:yVal>
          <c:bubbleSize>
            <c:numRef>
              <c:f>Sheet1!$C$2:$C$6</c:f>
              <c:numCache>
                <c:formatCode>General</c:formatCode>
                <c:ptCount val="5"/>
                <c:pt idx="0">
                  <c:v>2646168</c:v>
                </c:pt>
                <c:pt idx="1">
                  <c:v>2593762</c:v>
                </c:pt>
                <c:pt idx="2">
                  <c:v>2529880</c:v>
                </c:pt>
                <c:pt idx="3">
                  <c:v>651687</c:v>
                </c:pt>
                <c:pt idx="4">
                  <c:v>34704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5.0"/>
          <c:min val="23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7DB616C-DB05-4C09-96E3-0EF2DA55B9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648ACFE-6D70-4DAF-9369-79B9F05B02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C511C85-AF65-468C-A6CA-82605F9E79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251676E-45D4-4AD9-AFED-F885246BF0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F3F1265-6247-4B33-A476-5C4960A4BE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BD3D591-C2F6-4DE1-A4F0-E31D75BEE4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F21BB95-7DA5-4592-9015-6CEB5ABCC4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4177EE7-CFE9-4A5C-ABD9-E3BEBB8CE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66.5902</c:v>
                </c:pt>
                <c:pt idx="1">
                  <c:v>280.5788</c:v>
                </c:pt>
                <c:pt idx="2">
                  <c:v>577.608</c:v>
                </c:pt>
              </c:numCache>
            </c:numRef>
          </c:xVal>
          <c:yVal>
            <c:numRef>
              <c:f>Sheet1!$B$2:$B$4</c:f>
              <c:numCache>
                <c:formatCode>General</c:formatCode>
                <c:ptCount val="3"/>
                <c:pt idx="0">
                  <c:v>0.927</c:v>
                </c:pt>
                <c:pt idx="1">
                  <c:v>1.022</c:v>
                </c:pt>
                <c:pt idx="2">
                  <c:v>4.368</c:v>
                </c:pt>
              </c:numCache>
            </c:numRef>
          </c:yVal>
          <c:bubbleSize>
            <c:numRef>
              <c:f>Sheet1!$C$2:$C$4</c:f>
              <c:numCache>
                <c:formatCode>General</c:formatCode>
                <c:ptCount val="3"/>
                <c:pt idx="0">
                  <c:v>8864392</c:v>
                </c:pt>
                <c:pt idx="1">
                  <c:v>6934224</c:v>
                </c:pt>
                <c:pt idx="2">
                  <c:v>62035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0"/>
          <c:min val="21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06F5902-9B7C-45FB-A01A-05C1E96C1D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258EDC5-D172-49ED-BC40-8297BF212D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4DF616D-E233-4C1F-A668-88EAC6578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BF846BE-CF69-49C8-A6E4-9DA3344060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2DEDECE-1136-48C2-A196-8DCBF5D7A4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0C0240D-0285-4E3D-8871-28F6C2BBB4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6378BA3-21AA-473B-BE3B-DA7D6DA5FD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F4E5CB0-46C6-4B65-BA96-28BDEA3CB7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0.4991</c:v>
                </c:pt>
                <c:pt idx="1">
                  <c:v>245.0562</c:v>
                </c:pt>
                <c:pt idx="2">
                  <c:v>296.7036</c:v>
                </c:pt>
                <c:pt idx="3">
                  <c:v>85.8715</c:v>
                </c:pt>
                <c:pt idx="4">
                  <c:v>592.2873</c:v>
                </c:pt>
                <c:pt idx="5">
                  <c:v>313.8777</c:v>
                </c:pt>
                <c:pt idx="6">
                  <c:v>76.3016</c:v>
                </c:pt>
                <c:pt idx="7">
                  <c:v>522.0477</c:v>
                </c:pt>
              </c:numCache>
            </c:numRef>
          </c:xVal>
          <c:yVal>
            <c:numRef>
              <c:f>Sheet1!$B$2:$B$9</c:f>
              <c:numCache>
                <c:formatCode>General</c:formatCode>
                <c:ptCount val="8"/>
                <c:pt idx="0">
                  <c:v>1.493</c:v>
                </c:pt>
                <c:pt idx="1">
                  <c:v>0.736</c:v>
                </c:pt>
                <c:pt idx="2">
                  <c:v>2.217</c:v>
                </c:pt>
                <c:pt idx="3">
                  <c:v>0.428</c:v>
                </c:pt>
                <c:pt idx="4">
                  <c:v>8.622</c:v>
                </c:pt>
                <c:pt idx="5">
                  <c:v>4.011</c:v>
                </c:pt>
                <c:pt idx="6">
                  <c:v>0.407</c:v>
                </c:pt>
                <c:pt idx="7">
                  <c:v>5.425</c:v>
                </c:pt>
              </c:numCache>
            </c:numRef>
          </c:yVal>
          <c:bubbleSize>
            <c:numRef>
              <c:f>Sheet1!$C$2:$C$9</c:f>
              <c:numCache>
                <c:formatCode>General</c:formatCode>
                <c:ptCount val="8"/>
                <c:pt idx="0">
                  <c:v>31815885</c:v>
                </c:pt>
                <c:pt idx="1">
                  <c:v>26558455</c:v>
                </c:pt>
                <c:pt idx="2">
                  <c:v>15085897</c:v>
                </c:pt>
                <c:pt idx="3">
                  <c:v>11365346</c:v>
                </c:pt>
                <c:pt idx="4">
                  <c:v>7846030</c:v>
                </c:pt>
                <c:pt idx="5">
                  <c:v>6050621</c:v>
                </c:pt>
                <c:pt idx="6">
                  <c:v>5048116</c:v>
                </c:pt>
                <c:pt idx="7">
                  <c:v>2330943</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1.0"/>
          <c:min val="6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CE5C596-7E91-40F6-9FF4-E53FC184B9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28BC8E2-D6CA-46C1-B4A3-4302825428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A93F204-F0CC-4653-B505-82006836AB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595AC6-FF42-4B64-A334-E3EF711814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D0DB934-7F0F-4536-894B-570752B0A0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A32ACC6-A387-4D45-AD41-F33D4ECFF5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4DA8378-0401-4ED9-86E1-AA47222251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78EBBF6-91C6-4113-83ED-1CA04C6959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86.491</c:v>
                </c:pt>
                <c:pt idx="1">
                  <c:v>229.7379</c:v>
                </c:pt>
                <c:pt idx="2">
                  <c:v>269.0442</c:v>
                </c:pt>
              </c:numCache>
            </c:numRef>
          </c:xVal>
          <c:yVal>
            <c:numRef>
              <c:f>Sheet1!$B$2:$B$4</c:f>
              <c:numCache>
                <c:formatCode>General</c:formatCode>
                <c:ptCount val="3"/>
                <c:pt idx="0">
                  <c:v>0.917</c:v>
                </c:pt>
                <c:pt idx="1">
                  <c:v>0.984</c:v>
                </c:pt>
                <c:pt idx="2">
                  <c:v>4.698</c:v>
                </c:pt>
              </c:numCache>
            </c:numRef>
          </c:yVal>
          <c:bubbleSize>
            <c:numRef>
              <c:f>Sheet1!$C$2:$C$4</c:f>
              <c:numCache>
                <c:formatCode>General</c:formatCode>
                <c:ptCount val="3"/>
                <c:pt idx="0">
                  <c:v>29370286</c:v>
                </c:pt>
                <c:pt idx="1">
                  <c:v>22231274</c:v>
                </c:pt>
                <c:pt idx="2">
                  <c:v>328556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3.0"/>
          <c:min val="14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74AA1A0-2A21-405D-970D-B1A5A4E8AA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FF250F6-3561-485E-89ED-5F5DD898A7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3EFDDBF-65D1-4EF6-8A62-66DDA45874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E6A1A73-829B-43B5-ADFB-9F73384D24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A20C7C1-C705-45C5-96A0-7E06EE9E57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13055FE-1EC5-46B1-8AC6-4DBEBD9DB1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CDBE6BE-7BD9-46C5-BF50-F53A0EB143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78152D2-2383-4C5F-A20C-9E122FA574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82.0959</c:v>
                </c:pt>
                <c:pt idx="1">
                  <c:v>602.2839</c:v>
                </c:pt>
                <c:pt idx="2">
                  <c:v>150.8426</c:v>
                </c:pt>
                <c:pt idx="3">
                  <c:v>550.4529</c:v>
                </c:pt>
                <c:pt idx="4">
                  <c:v>610.6858</c:v>
                </c:pt>
              </c:numCache>
            </c:numRef>
          </c:xVal>
          <c:yVal>
            <c:numRef>
              <c:f>Sheet1!$B$2:$B$6</c:f>
              <c:numCache>
                <c:formatCode>General</c:formatCode>
                <c:ptCount val="5"/>
                <c:pt idx="0">
                  <c:v>1.182</c:v>
                </c:pt>
                <c:pt idx="1">
                  <c:v>1.837</c:v>
                </c:pt>
                <c:pt idx="2">
                  <c:v>0.407</c:v>
                </c:pt>
                <c:pt idx="3">
                  <c:v>7.9</c:v>
                </c:pt>
                <c:pt idx="4">
                  <c:v>121.45</c:v>
                </c:pt>
              </c:numCache>
            </c:numRef>
          </c:yVal>
          <c:bubbleSize>
            <c:numRef>
              <c:f>Sheet1!$C$2:$C$6</c:f>
              <c:numCache>
                <c:formatCode>General</c:formatCode>
                <c:ptCount val="5"/>
                <c:pt idx="0">
                  <c:v>13057092</c:v>
                </c:pt>
                <c:pt idx="1">
                  <c:v>3118024</c:v>
                </c:pt>
                <c:pt idx="2">
                  <c:v>3018361</c:v>
                </c:pt>
                <c:pt idx="3">
                  <c:v>805863</c:v>
                </c:pt>
                <c:pt idx="4">
                  <c:v>33038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3.0"/>
          <c:min val="12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AF52F87-F35D-42C8-B2A6-560B6C1B76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D3370534-8AB0-4761-854A-C234CDA33D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735BDF6A-331A-4630-B611-72E070B85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A6AA11A3-F610-44BA-9C08-C0CF07B878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DE4E77F4-0E6C-4F43-8485-5E7F2E258A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05C1360D-D270-4A9B-9618-39A2F0EEF6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1A2756AB-1D14-4BB0-AA9B-EBACEA8DCF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345587C6-7590-4485-BCD3-B10238F3CD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59.9946</c:v>
                </c:pt>
                <c:pt idx="1">
                  <c:v>472.6187</c:v>
                </c:pt>
                <c:pt idx="2">
                  <c:v>490.3613</c:v>
                </c:pt>
                <c:pt idx="3">
                  <c:v>335.1461</c:v>
                </c:pt>
                <c:pt idx="4">
                  <c:v>149.6178</c:v>
                </c:pt>
                <c:pt idx="5">
                  <c:v>411.8431</c:v>
                </c:pt>
                <c:pt idx="6">
                  <c:v>480.0313</c:v>
                </c:pt>
                <c:pt idx="7">
                  <c:v>509.3684</c:v>
                </c:pt>
              </c:numCache>
            </c:numRef>
          </c:xVal>
          <c:yVal>
            <c:numRef>
              <c:f>Sheet1!$B$2:$B$9</c:f>
              <c:numCache>
                <c:formatCode>General</c:formatCode>
                <c:ptCount val="8"/>
                <c:pt idx="0">
                  <c:v>0.946</c:v>
                </c:pt>
                <c:pt idx="1">
                  <c:v>2.399</c:v>
                </c:pt>
                <c:pt idx="2">
                  <c:v>0.0</c:v>
                </c:pt>
                <c:pt idx="3">
                  <c:v>0.0</c:v>
                </c:pt>
                <c:pt idx="4">
                  <c:v>2.001</c:v>
                </c:pt>
                <c:pt idx="5">
                  <c:v>5.368</c:v>
                </c:pt>
                <c:pt idx="6">
                  <c:v>0.357</c:v>
                </c:pt>
                <c:pt idx="7">
                  <c:v>0.353</c:v>
                </c:pt>
              </c:numCache>
            </c:numRef>
          </c:yVal>
          <c:bubbleSize>
            <c:numRef>
              <c:f>Sheet1!$C$2:$C$9</c:f>
              <c:numCache>
                <c:formatCode>General</c:formatCode>
                <c:ptCount val="8"/>
                <c:pt idx="0">
                  <c:v>103599</c:v>
                </c:pt>
                <c:pt idx="1">
                  <c:v>65694</c:v>
                </c:pt>
                <c:pt idx="2">
                  <c:v>58353</c:v>
                </c:pt>
                <c:pt idx="3">
                  <c:v>29828</c:v>
                </c:pt>
                <c:pt idx="4">
                  <c:v>23490</c:v>
                </c:pt>
                <c:pt idx="5">
                  <c:v>21004</c:v>
                </c:pt>
                <c:pt idx="6">
                  <c:v>15361</c:v>
                </c:pt>
                <c:pt idx="7">
                  <c:v>967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72.0"/>
          <c:min val="120.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A18786D-1E04-4DF9-AED7-633BA2542E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E5E5424-0CB6-444C-96C3-7FC58B4354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668D046-8190-4910-AB0B-15B23D664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3D39338-B9A3-465E-9946-653A95B5A4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9DCD859-59C4-458B-9F47-52BA8EE29E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6DBE448-766B-48CF-9D5A-EB59DA0F3D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9F2996E-3CF6-4D1F-A0AF-3F0B68796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9C858B5-0687-4B88-904E-2330AA184B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564.3727</c:v>
                </c:pt>
                <c:pt idx="1">
                  <c:v>591.359</c:v>
                </c:pt>
                <c:pt idx="2">
                  <c:v>292.4632</c:v>
                </c:pt>
                <c:pt idx="3">
                  <c:v>539.0345</c:v>
                </c:pt>
                <c:pt idx="4">
                  <c:v>376.239</c:v>
                </c:pt>
                <c:pt idx="5">
                  <c:v>276.9446</c:v>
                </c:pt>
              </c:numCache>
            </c:numRef>
          </c:xVal>
          <c:yVal>
            <c:numRef>
              <c:f>Sheet1!$B$2:$B$7</c:f>
              <c:numCache>
                <c:formatCode>General</c:formatCode>
                <c:ptCount val="6"/>
                <c:pt idx="0">
                  <c:v>1.067</c:v>
                </c:pt>
                <c:pt idx="1">
                  <c:v>1.305</c:v>
                </c:pt>
                <c:pt idx="2">
                  <c:v>0.603</c:v>
                </c:pt>
                <c:pt idx="3">
                  <c:v>5.037</c:v>
                </c:pt>
                <c:pt idx="4">
                  <c:v>1.408</c:v>
                </c:pt>
                <c:pt idx="5">
                  <c:v>0.541</c:v>
                </c:pt>
              </c:numCache>
            </c:numRef>
          </c:yVal>
          <c:bubbleSize>
            <c:numRef>
              <c:f>Sheet1!$C$2:$C$7</c:f>
              <c:numCache>
                <c:formatCode>General</c:formatCode>
                <c:ptCount val="6"/>
                <c:pt idx="0">
                  <c:v>2382217</c:v>
                </c:pt>
                <c:pt idx="1">
                  <c:v>2325815</c:v>
                </c:pt>
                <c:pt idx="2">
                  <c:v>2206050</c:v>
                </c:pt>
                <c:pt idx="3">
                  <c:v>717994</c:v>
                </c:pt>
                <c:pt idx="4">
                  <c:v>401447</c:v>
                </c:pt>
                <c:pt idx="5">
                  <c:v>9000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0.0"/>
          <c:min val="22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A27BE17-CF99-4A2D-9857-2E73A7E6C1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970F6D2-D880-4070-B897-E39D7A9F1E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3209D08-FB3E-42BE-8018-6569F5F06B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289BB05-672E-4AEE-A344-2FE59EEE75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706B7E9-A169-41D3-ADEB-9F6DE2288B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DB214FF-3B22-4197-8CFD-8AF647ACEC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B47E391-4720-4CFD-A010-E8F842F5AB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C7AEE1D-08FB-4BC8-8DBA-5BA0CEFD23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82.5649</c:v>
                </c:pt>
                <c:pt idx="1">
                  <c:v>292.079</c:v>
                </c:pt>
                <c:pt idx="2">
                  <c:v>581.4377</c:v>
                </c:pt>
              </c:numCache>
            </c:numRef>
          </c:xVal>
          <c:yVal>
            <c:numRef>
              <c:f>Sheet1!$B$2:$B$4</c:f>
              <c:numCache>
                <c:formatCode>General</c:formatCode>
                <c:ptCount val="3"/>
                <c:pt idx="0">
                  <c:v>0.983</c:v>
                </c:pt>
                <c:pt idx="1">
                  <c:v>1.005</c:v>
                </c:pt>
                <c:pt idx="2">
                  <c:v>4.025</c:v>
                </c:pt>
              </c:numCache>
            </c:numRef>
          </c:yVal>
          <c:bubbleSize>
            <c:numRef>
              <c:f>Sheet1!$C$2:$C$4</c:f>
              <c:numCache>
                <c:formatCode>General</c:formatCode>
                <c:ptCount val="3"/>
                <c:pt idx="0">
                  <c:v>15528071</c:v>
                </c:pt>
                <c:pt idx="1">
                  <c:v>7487736</c:v>
                </c:pt>
                <c:pt idx="2">
                  <c:v>42910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8.0"/>
          <c:min val="22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98CB3DD-A552-4AAA-A603-37CFA4EA86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CA8E544-8A8B-4C80-91A5-5ACE767370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B04AD49-E374-4DA1-8962-7327CC410D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4E8CE61-7584-45B8-99F8-3EA827481B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72E2DB8-264A-48DF-B99F-EECFE606A0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36E10DC-0AD3-4742-B1FE-78386EB04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C13091B-6132-415D-B678-FDBABA5BAD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3C354ED-C2F0-40A9-8161-F29D5B5ADF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6.9369</c:v>
                </c:pt>
                <c:pt idx="1">
                  <c:v>243.8965</c:v>
                </c:pt>
                <c:pt idx="2">
                  <c:v>294.3934</c:v>
                </c:pt>
                <c:pt idx="3">
                  <c:v>80.9095</c:v>
                </c:pt>
                <c:pt idx="4">
                  <c:v>263.9847</c:v>
                </c:pt>
                <c:pt idx="5">
                  <c:v>614.8187</c:v>
                </c:pt>
                <c:pt idx="6">
                  <c:v>73.9093</c:v>
                </c:pt>
                <c:pt idx="7">
                  <c:v>329.4857</c:v>
                </c:pt>
              </c:numCache>
            </c:numRef>
          </c:xVal>
          <c:yVal>
            <c:numRef>
              <c:f>Sheet1!$B$2:$B$9</c:f>
              <c:numCache>
                <c:formatCode>General</c:formatCode>
                <c:ptCount val="8"/>
                <c:pt idx="0">
                  <c:v>1.547</c:v>
                </c:pt>
                <c:pt idx="1">
                  <c:v>0.721</c:v>
                </c:pt>
                <c:pt idx="2">
                  <c:v>2.109</c:v>
                </c:pt>
                <c:pt idx="3">
                  <c:v>0.424</c:v>
                </c:pt>
                <c:pt idx="4">
                  <c:v>3.805</c:v>
                </c:pt>
                <c:pt idx="5">
                  <c:v>11.061</c:v>
                </c:pt>
                <c:pt idx="6">
                  <c:v>0.396</c:v>
                </c:pt>
                <c:pt idx="7">
                  <c:v>2.502</c:v>
                </c:pt>
              </c:numCache>
            </c:numRef>
          </c:yVal>
          <c:bubbleSize>
            <c:numRef>
              <c:f>Sheet1!$C$2:$C$9</c:f>
              <c:numCache>
                <c:formatCode>General</c:formatCode>
                <c:ptCount val="8"/>
                <c:pt idx="0">
                  <c:v>28728141</c:v>
                </c:pt>
                <c:pt idx="1">
                  <c:v>17662741</c:v>
                </c:pt>
                <c:pt idx="2">
                  <c:v>9055836</c:v>
                </c:pt>
                <c:pt idx="3">
                  <c:v>5505085</c:v>
                </c:pt>
                <c:pt idx="4">
                  <c:v>3600224</c:v>
                </c:pt>
                <c:pt idx="5">
                  <c:v>2370126</c:v>
                </c:pt>
                <c:pt idx="6">
                  <c:v>1682618</c:v>
                </c:pt>
                <c:pt idx="7">
                  <c:v>96671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8.0"/>
          <c:min val="5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C803769-3205-4F7D-BEE1-3CCE2471E1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9DE11D5-0155-4497-A125-EFED37DEDF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08D8D86-A6BE-496F-BAEB-10BD5741B1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E090672-72DB-4483-A8D0-59B5C12C81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D79C317-8A7B-478B-B617-3CE9D0E4B2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D85879E-B966-4731-B476-C62A9745B4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CFFD551-8135-41B7-8723-D39706E1D0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78A0ACA-9084-476A-82EA-9F95D9196B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17.5425</c:v>
                </c:pt>
                <c:pt idx="1">
                  <c:v>181.3678</c:v>
                </c:pt>
                <c:pt idx="2">
                  <c:v>255.7958</c:v>
                </c:pt>
              </c:numCache>
            </c:numRef>
          </c:xVal>
          <c:yVal>
            <c:numRef>
              <c:f>Sheet1!$B$2:$B$4</c:f>
              <c:numCache>
                <c:formatCode>General</c:formatCode>
                <c:ptCount val="3"/>
                <c:pt idx="0">
                  <c:v>0.972</c:v>
                </c:pt>
                <c:pt idx="1">
                  <c:v>0.924</c:v>
                </c:pt>
                <c:pt idx="2">
                  <c:v>4.739</c:v>
                </c:pt>
              </c:numCache>
            </c:numRef>
          </c:yVal>
          <c:bubbleSize>
            <c:numRef>
              <c:f>Sheet1!$C$2:$C$4</c:f>
              <c:numCache>
                <c:formatCode>General</c:formatCode>
                <c:ptCount val="3"/>
                <c:pt idx="0">
                  <c:v>22700562</c:v>
                </c:pt>
                <c:pt idx="1">
                  <c:v>18754695</c:v>
                </c:pt>
                <c:pt idx="2">
                  <c:v>238785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7.0"/>
          <c:min val="14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40B6F43-DC77-4800-AF95-EEFDF8F845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DEE3031-302B-4854-8D25-693464F6C0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3B43A08-592F-45F3-827C-D438936FAB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079A818-8378-46ED-B09E-E721B46BC4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E87E707-148F-46DA-887D-BF6363584E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A52163D-6D21-40A1-B461-70354AB941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BD6E6E8-FC61-4C12-A21B-612C61221D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98CB098-358B-4562-B4B3-10A5145711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78.8512</c:v>
                </c:pt>
                <c:pt idx="1">
                  <c:v>153.2124</c:v>
                </c:pt>
                <c:pt idx="2">
                  <c:v>603.704</c:v>
                </c:pt>
                <c:pt idx="3">
                  <c:v>513.7652</c:v>
                </c:pt>
              </c:numCache>
            </c:numRef>
          </c:xVal>
          <c:yVal>
            <c:numRef>
              <c:f>Sheet1!$B$2:$B$5</c:f>
              <c:numCache>
                <c:formatCode>General</c:formatCode>
                <c:ptCount val="4"/>
                <c:pt idx="0">
                  <c:v>1.188</c:v>
                </c:pt>
                <c:pt idx="1">
                  <c:v>0.424</c:v>
                </c:pt>
                <c:pt idx="2">
                  <c:v>1.932</c:v>
                </c:pt>
                <c:pt idx="3">
                  <c:v>8.566</c:v>
                </c:pt>
              </c:numCache>
            </c:numRef>
          </c:yVal>
          <c:bubbleSize>
            <c:numRef>
              <c:f>Sheet1!$C$2:$C$5</c:f>
              <c:numCache>
                <c:formatCode>General</c:formatCode>
                <c:ptCount val="4"/>
                <c:pt idx="0">
                  <c:v>11419513</c:v>
                </c:pt>
                <c:pt idx="1">
                  <c:v>2118621</c:v>
                </c:pt>
                <c:pt idx="2">
                  <c:v>868730</c:v>
                </c:pt>
                <c:pt idx="3">
                  <c:v>77013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4.0"/>
          <c:min val="12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FB5B3D6-F97C-4313-9A2D-CF63DB5081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AEDBAF7-D345-4109-94FA-8578598FA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66909D3-2622-4023-B92C-8553A40F05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64D0C78-F63C-4247-9F6F-967ABE2571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8E7678D-5711-47D5-967A-C18E490C73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C80E1F2-B851-4014-A6F1-096BA0AAAF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914F294-8AC2-467C-9737-E060AC9BF3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C9F4EA0-B432-45C0-84B1-79B3CB4E69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69.6573</c:v>
                </c:pt>
                <c:pt idx="1">
                  <c:v>613.1876</c:v>
                </c:pt>
                <c:pt idx="2">
                  <c:v>587.8717</c:v>
                </c:pt>
                <c:pt idx="3">
                  <c:v>314.7817</c:v>
                </c:pt>
                <c:pt idx="4">
                  <c:v>605.6221</c:v>
                </c:pt>
                <c:pt idx="5">
                  <c:v>268.7677</c:v>
                </c:pt>
              </c:numCache>
            </c:numRef>
          </c:xVal>
          <c:yVal>
            <c:numRef>
              <c:f>Sheet1!$B$2:$B$7</c:f>
              <c:numCache>
                <c:formatCode>General</c:formatCode>
                <c:ptCount val="6"/>
                <c:pt idx="0">
                  <c:v>0.577</c:v>
                </c:pt>
                <c:pt idx="1">
                  <c:v>2.402</c:v>
                </c:pt>
                <c:pt idx="2">
                  <c:v>2.154</c:v>
                </c:pt>
                <c:pt idx="3">
                  <c:v>1.03</c:v>
                </c:pt>
                <c:pt idx="4">
                  <c:v>0.0</c:v>
                </c:pt>
                <c:pt idx="5">
                  <c:v>0.526</c:v>
                </c:pt>
              </c:numCache>
            </c:numRef>
          </c:yVal>
          <c:bubbleSize>
            <c:numRef>
              <c:f>Sheet1!$C$2:$C$7</c:f>
              <c:numCache>
                <c:formatCode>General</c:formatCode>
                <c:ptCount val="6"/>
                <c:pt idx="0">
                  <c:v>1585585</c:v>
                </c:pt>
                <c:pt idx="1">
                  <c:v>1019731</c:v>
                </c:pt>
                <c:pt idx="2">
                  <c:v>888862</c:v>
                </c:pt>
                <c:pt idx="3">
                  <c:v>230735</c:v>
                </c:pt>
                <c:pt idx="4">
                  <c:v>104167</c:v>
                </c:pt>
                <c:pt idx="5">
                  <c:v>6826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6.0"/>
          <c:min val="21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40681A2-A980-4D10-9705-1605FAA62D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06B98A0-6BD8-4D0A-80BA-DE34A4D142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7E0BA08-B4F5-4D76-908B-B64368C701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FBFDD9C-88DB-48EA-B631-10D75098EF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3096342-66DD-46AB-AA09-05778B45AA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C679137-5D1A-48C1-A595-6D9BB3ADBB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FDEFAFA-619A-44AF-9EDE-2A97973900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80B7338-160D-480F-8630-446106ABBD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82.4095</c:v>
                </c:pt>
                <c:pt idx="1">
                  <c:v>292.8522</c:v>
                </c:pt>
              </c:numCache>
            </c:numRef>
          </c:xVal>
          <c:yVal>
            <c:numRef>
              <c:f>Sheet1!$B$2:$B$3</c:f>
              <c:numCache>
                <c:formatCode>General</c:formatCode>
                <c:ptCount val="2"/>
                <c:pt idx="0">
                  <c:v>0.983</c:v>
                </c:pt>
                <c:pt idx="1">
                  <c:v>1.019</c:v>
                </c:pt>
              </c:numCache>
            </c:numRef>
          </c:yVal>
          <c:bubbleSize>
            <c:numRef>
              <c:f>Sheet1!$C$2:$C$3</c:f>
              <c:numCache>
                <c:formatCode>General</c:formatCode>
                <c:ptCount val="2"/>
                <c:pt idx="0">
                  <c:v>16678256</c:v>
                </c:pt>
                <c:pt idx="1">
                  <c:v>745191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51.0"/>
          <c:min val="22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Edgewell</c:v>
                  </c:pt>
                  <c:pt idx="2">
                    <c:v>Total</c:v>
                  </c:pt>
                  <c:pt idx="3">
                    <c:v>Edgewell</c:v>
                  </c:pt>
                </c:lvl>
                <c:lvl>
                  <c:pt idx="0">
                    <c:v>Sunscreen Adults</c:v>
                  </c:pt>
                  <c:pt idx="2">
                    <c:v>Sunscreen Kids</c:v>
                  </c:pt>
                </c:lvl>
                <c:lvl>
                  <c:pt idx="0">
                    <c:v>Sunscreen</c:v>
                  </c:pt>
                </c:lvl>
              </c:multiLvlStrCache>
            </c:multiLvlStrRef>
          </c:cat>
          <c:val>
            <c:numRef>
              <c:f>Sheet1!$D$2:$D$5</c:f>
              <c:numCache>
                <c:formatCode>General</c:formatCode>
                <c:ptCount val="4"/>
                <c:pt idx="0">
                  <c:v>1419.7</c:v>
                </c:pt>
                <c:pt idx="1">
                  <c:v>421.6</c:v>
                </c:pt>
                <c:pt idx="2">
                  <c:v>139.7</c:v>
                </c:pt>
                <c:pt idx="3">
                  <c:v>40.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88.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39.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29.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03.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Edgewell</c:v>
                  </c:pt>
                  <c:pt idx="2">
                    <c:v>Total</c:v>
                  </c:pt>
                  <c:pt idx="3">
                    <c:v>Edgewell</c:v>
                  </c:pt>
                </c:lvl>
                <c:lvl>
                  <c:pt idx="0">
                    <c:v>Sunscreen Adults</c:v>
                  </c:pt>
                  <c:pt idx="2">
                    <c:v>Sunscreen Kids</c:v>
                  </c:pt>
                </c:lvl>
                <c:lvl>
                  <c:pt idx="0">
                    <c:v>Sunscreen</c:v>
                  </c:pt>
                </c:lvl>
              </c:multiLvlStrCache>
            </c:multiLvlStrRef>
          </c:cat>
          <c:val>
            <c:numRef>
              <c:f>Sheet1!$E$2:$E$5</c:f>
              <c:numCache>
                <c:formatCode>General</c:formatCode>
                <c:ptCount val="4"/>
                <c:pt idx="0">
                  <c:v>1688.7191</c:v>
                </c:pt>
                <c:pt idx="1">
                  <c:v>1239.621</c:v>
                </c:pt>
                <c:pt idx="2">
                  <c:v>1129.5238</c:v>
                </c:pt>
                <c:pt idx="3">
                  <c:v>1203.28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Edgewell</c:v>
                  </c:pt>
                  <c:pt idx="2">
                    <c:v>Total</c:v>
                  </c:pt>
                  <c:pt idx="3">
                    <c:v>Edgewell</c:v>
                  </c:pt>
                </c:lvl>
                <c:lvl>
                  <c:pt idx="0">
                    <c:v>Sunscreen Adults</c:v>
                  </c:pt>
                  <c:pt idx="2">
                    <c:v>Sunscreen Kids</c:v>
                  </c:pt>
                </c:lvl>
                <c:lvl>
                  <c:pt idx="0">
                    <c:v>Sunscreen</c:v>
                  </c:pt>
                </c:lvl>
              </c:multiLvlStrCache>
            </c:multiLvlStrRef>
          </c:cat>
          <c:val>
            <c:numRef>
              <c:f>Sheet1!$D$2:$D$5</c:f>
              <c:numCache>
                <c:formatCode>General</c:formatCode>
                <c:ptCount val="4"/>
                <c:pt idx="0">
                  <c:v>309.0</c:v>
                </c:pt>
                <c:pt idx="1">
                  <c:v>89.2</c:v>
                </c:pt>
                <c:pt idx="2">
                  <c:v>27.7</c:v>
                </c:pt>
                <c:pt idx="3">
                  <c:v>7.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720.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32.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13.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95.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Edgewell</c:v>
                  </c:pt>
                  <c:pt idx="2">
                    <c:v>Total</c:v>
                  </c:pt>
                  <c:pt idx="3">
                    <c:v>Edgewell</c:v>
                  </c:pt>
                </c:lvl>
                <c:lvl>
                  <c:pt idx="0">
                    <c:v>Sunscreen Adults</c:v>
                  </c:pt>
                  <c:pt idx="2">
                    <c:v>Sunscreen Kids</c:v>
                  </c:pt>
                </c:lvl>
                <c:lvl>
                  <c:pt idx="0">
                    <c:v>Sunscreen</c:v>
                  </c:pt>
                </c:lvl>
              </c:multiLvlStrCache>
            </c:multiLvlStrRef>
          </c:cat>
          <c:val>
            <c:numRef>
              <c:f>Sheet1!$E$2:$E$5</c:f>
              <c:numCache>
                <c:formatCode>General</c:formatCode>
                <c:ptCount val="4"/>
                <c:pt idx="0">
                  <c:v>1720.6779</c:v>
                </c:pt>
                <c:pt idx="1">
                  <c:v>1232.5839</c:v>
                </c:pt>
                <c:pt idx="2">
                  <c:v>1113.2074</c:v>
                </c:pt>
                <c:pt idx="3">
                  <c:v>1195.683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Edgewell</c:v>
                  </c:pt>
                  <c:pt idx="2">
                    <c:v>Total</c:v>
                  </c:pt>
                  <c:pt idx="3">
                    <c:v>Edgewell</c:v>
                  </c:pt>
                </c:lvl>
                <c:lvl>
                  <c:pt idx="0">
                    <c:v>Sunscreen Adults</c:v>
                  </c:pt>
                  <c:pt idx="2">
                    <c:v>Sunscreen Kids</c:v>
                  </c:pt>
                </c:lvl>
                <c:lvl>
                  <c:pt idx="0">
                    <c:v>Sunscreen</c:v>
                  </c:pt>
                </c:lvl>
              </c:multiLvlStrCache>
            </c:multiLvlStrRef>
          </c:cat>
          <c:val>
            <c:numRef>
              <c:f>Sheet1!$D$2:$D$5</c:f>
              <c:numCache>
                <c:formatCode>General</c:formatCode>
                <c:ptCount val="4"/>
                <c:pt idx="0">
                  <c:v>268.6</c:v>
                </c:pt>
                <c:pt idx="1">
                  <c:v>58.9</c:v>
                </c:pt>
                <c:pt idx="2">
                  <c:v>21.6</c:v>
                </c:pt>
                <c:pt idx="3">
                  <c:v>6.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092.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03.6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68.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76.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Edgewell</c:v>
                  </c:pt>
                  <c:pt idx="2">
                    <c:v>Total</c:v>
                  </c:pt>
                  <c:pt idx="3">
                    <c:v>Edgewell</c:v>
                  </c:pt>
                </c:lvl>
                <c:lvl>
                  <c:pt idx="0">
                    <c:v>Sunscreen Adults</c:v>
                  </c:pt>
                  <c:pt idx="2">
                    <c:v>Sunscreen Kids</c:v>
                  </c:pt>
                </c:lvl>
                <c:lvl>
                  <c:pt idx="0">
                    <c:v>Sunscreen</c:v>
                  </c:pt>
                </c:lvl>
              </c:multiLvlStrCache>
            </c:multiLvlStrRef>
          </c:cat>
          <c:val>
            <c:numRef>
              <c:f>Sheet1!$E$2:$E$5</c:f>
              <c:numCache>
                <c:formatCode>General</c:formatCode>
                <c:ptCount val="4"/>
                <c:pt idx="0">
                  <c:v>2092.9344</c:v>
                </c:pt>
                <c:pt idx="1">
                  <c:v>1203.6478</c:v>
                </c:pt>
                <c:pt idx="2">
                  <c:v>1168.932</c:v>
                </c:pt>
                <c:pt idx="3">
                  <c:v>1176.642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CE8A3F56-4049-421E-8A16-8F4792DBE1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6F4AC02D-CA68-41A3-8B0E-5BCEA10B9E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FBC53F08-5B75-4D38-AC37-68C8AA68E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B0C0BDD2-7A18-4453-89CE-CA75D1390D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20D078D6-569C-44A9-AAE9-B1D7C25FB5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78CB32CE-7251-4620-B78F-2491A969F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11F8C884-9C49-4028-BB0F-D04C01DE7F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25DABAA8-A4B2-41CE-A1BC-1B8C5634C6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66.1353</c:v>
                </c:pt>
                <c:pt idx="1">
                  <c:v>250.9359</c:v>
                </c:pt>
                <c:pt idx="2">
                  <c:v>214.3</c:v>
                </c:pt>
                <c:pt idx="3">
                  <c:v>270.0962</c:v>
                </c:pt>
              </c:numCache>
            </c:numRef>
          </c:xVal>
          <c:yVal>
            <c:numRef>
              <c:f>Sheet1!$B$2:$B$5</c:f>
              <c:numCache>
                <c:formatCode>General</c:formatCode>
                <c:ptCount val="4"/>
                <c:pt idx="0">
                  <c:v>0.989</c:v>
                </c:pt>
                <c:pt idx="1">
                  <c:v>1.105</c:v>
                </c:pt>
                <c:pt idx="2">
                  <c:v>0.792</c:v>
                </c:pt>
                <c:pt idx="3">
                  <c:v>1.362</c:v>
                </c:pt>
              </c:numCache>
            </c:numRef>
          </c:yVal>
          <c:bubbleSize>
            <c:numRef>
              <c:f>Sheet1!$C$2:$C$5</c:f>
              <c:numCache>
                <c:formatCode>General</c:formatCode>
                <c:ptCount val="4"/>
                <c:pt idx="0">
                  <c:v>1704863</c:v>
                </c:pt>
                <c:pt idx="1">
                  <c:v>1323185</c:v>
                </c:pt>
                <c:pt idx="2">
                  <c:v>413599</c:v>
                </c:pt>
                <c:pt idx="3">
                  <c:v>14315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4.0"/>
          <c:min val="17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Edgewell</c:v>
                  </c:pt>
                  <c:pt idx="2">
                    <c:v>Total</c:v>
                  </c:pt>
                  <c:pt idx="3">
                    <c:v>Edgewell</c:v>
                  </c:pt>
                </c:lvl>
                <c:lvl>
                  <c:pt idx="0">
                    <c:v>Sunscreen Adults</c:v>
                  </c:pt>
                  <c:pt idx="2">
                    <c:v>Sunscreen Kids</c:v>
                  </c:pt>
                </c:lvl>
                <c:lvl>
                  <c:pt idx="0">
                    <c:v>Sunscreen</c:v>
                  </c:pt>
                </c:lvl>
              </c:multiLvlStrCache>
            </c:multiLvlStrRef>
          </c:cat>
          <c:val>
            <c:numRef>
              <c:f>Sheet1!$D$2:$D$5</c:f>
              <c:numCache>
                <c:formatCode>General</c:formatCode>
                <c:ptCount val="4"/>
                <c:pt idx="0">
                  <c:v>230.2</c:v>
                </c:pt>
                <c:pt idx="1">
                  <c:v>75.1</c:v>
                </c:pt>
                <c:pt idx="2">
                  <c:v>26.1</c:v>
                </c:pt>
                <c:pt idx="3">
                  <c:v>6.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26.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1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066.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03.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Edgewell</c:v>
                  </c:pt>
                  <c:pt idx="2">
                    <c:v>Total</c:v>
                  </c:pt>
                  <c:pt idx="3">
                    <c:v>Edgewell</c:v>
                  </c:pt>
                </c:lvl>
                <c:lvl>
                  <c:pt idx="0">
                    <c:v>Sunscreen Adults</c:v>
                  </c:pt>
                  <c:pt idx="2">
                    <c:v>Sunscreen Kids</c:v>
                  </c:pt>
                </c:lvl>
                <c:lvl>
                  <c:pt idx="0">
                    <c:v>Sunscreen</c:v>
                  </c:pt>
                </c:lvl>
              </c:multiLvlStrCache>
            </c:multiLvlStrRef>
          </c:cat>
          <c:val>
            <c:numRef>
              <c:f>Sheet1!$E$2:$E$5</c:f>
              <c:numCache>
                <c:formatCode>General</c:formatCode>
                <c:ptCount val="4"/>
                <c:pt idx="0">
                  <c:v>1426.1102</c:v>
                </c:pt>
                <c:pt idx="1">
                  <c:v>1218.6012</c:v>
                </c:pt>
                <c:pt idx="2">
                  <c:v>1066.3696</c:v>
                </c:pt>
                <c:pt idx="3">
                  <c:v>1103.032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Edgewell</c:v>
                  </c:pt>
                  <c:pt idx="2">
                    <c:v>Total</c:v>
                  </c:pt>
                  <c:pt idx="3">
                    <c:v>Edgewell</c:v>
                  </c:pt>
                </c:lvl>
                <c:lvl>
                  <c:pt idx="0">
                    <c:v>Sunscreen Adults</c:v>
                  </c:pt>
                  <c:pt idx="2">
                    <c:v>Sunscreen Kids</c:v>
                  </c:pt>
                </c:lvl>
                <c:lvl>
                  <c:pt idx="0">
                    <c:v>Sunscreen</c:v>
                  </c:pt>
                </c:lvl>
              </c:multiLvlStrCache>
            </c:multiLvlStrRef>
          </c:cat>
          <c:val>
            <c:numRef>
              <c:f>Sheet1!$D$2:$D$5</c:f>
              <c:numCache>
                <c:formatCode>General</c:formatCode>
                <c:ptCount val="4"/>
                <c:pt idx="0">
                  <c:v>229.5</c:v>
                </c:pt>
                <c:pt idx="1">
                  <c:v>64.4</c:v>
                </c:pt>
                <c:pt idx="2">
                  <c:v>24.6</c:v>
                </c:pt>
                <c:pt idx="3">
                  <c:v>6.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50.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15.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1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84.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Edgewell</c:v>
                  </c:pt>
                  <c:pt idx="2">
                    <c:v>Total</c:v>
                  </c:pt>
                  <c:pt idx="3">
                    <c:v>Edgewell</c:v>
                  </c:pt>
                </c:lvl>
                <c:lvl>
                  <c:pt idx="0">
                    <c:v>Sunscreen Adults</c:v>
                  </c:pt>
                  <c:pt idx="2">
                    <c:v>Sunscreen Kids</c:v>
                  </c:pt>
                </c:lvl>
                <c:lvl>
                  <c:pt idx="0">
                    <c:v>Sunscreen</c:v>
                  </c:pt>
                </c:lvl>
              </c:multiLvlStrCache>
            </c:multiLvlStrRef>
          </c:cat>
          <c:val>
            <c:numRef>
              <c:f>Sheet1!$E$2:$E$5</c:f>
              <c:numCache>
                <c:formatCode>General</c:formatCode>
                <c:ptCount val="4"/>
                <c:pt idx="0">
                  <c:v>1650.2656</c:v>
                </c:pt>
                <c:pt idx="1">
                  <c:v>1215.1839</c:v>
                </c:pt>
                <c:pt idx="2">
                  <c:v>1119.7041</c:v>
                </c:pt>
                <c:pt idx="3">
                  <c:v>1184.347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Edgewell</c:v>
                  </c:pt>
                  <c:pt idx="2">
                    <c:v>Total</c:v>
                  </c:pt>
                  <c:pt idx="3">
                    <c:v>Edgewell</c:v>
                  </c:pt>
                </c:lvl>
                <c:lvl>
                  <c:pt idx="0">
                    <c:v>Sunscreen Adults</c:v>
                  </c:pt>
                  <c:pt idx="2">
                    <c:v>Sunscreen Kids</c:v>
                  </c:pt>
                </c:lvl>
                <c:lvl>
                  <c:pt idx="0">
                    <c:v>Sunscreen</c:v>
                  </c:pt>
                </c:lvl>
              </c:multiLvlStrCache>
            </c:multiLvlStrRef>
          </c:cat>
          <c:val>
            <c:numRef>
              <c:f>Sheet1!$D$2:$D$5</c:f>
              <c:numCache>
                <c:formatCode>General</c:formatCode>
                <c:ptCount val="4"/>
                <c:pt idx="0">
                  <c:v>219.5</c:v>
                </c:pt>
                <c:pt idx="1">
                  <c:v>76.5</c:v>
                </c:pt>
                <c:pt idx="2">
                  <c:v>23.2</c:v>
                </c:pt>
                <c:pt idx="3">
                  <c:v>8.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65.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75.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45.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8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Edgewell</c:v>
                  </c:pt>
                  <c:pt idx="2">
                    <c:v>Total</c:v>
                  </c:pt>
                  <c:pt idx="3">
                    <c:v>Edgewell</c:v>
                  </c:pt>
                </c:lvl>
                <c:lvl>
                  <c:pt idx="0">
                    <c:v>Sunscreen Adults</c:v>
                  </c:pt>
                  <c:pt idx="2">
                    <c:v>Sunscreen Kids</c:v>
                  </c:pt>
                </c:lvl>
                <c:lvl>
                  <c:pt idx="0">
                    <c:v>Sunscreen</c:v>
                  </c:pt>
                </c:lvl>
              </c:multiLvlStrCache>
            </c:multiLvlStrRef>
          </c:cat>
          <c:val>
            <c:numRef>
              <c:f>Sheet1!$E$2:$E$5</c:f>
              <c:numCache>
                <c:formatCode>General</c:formatCode>
                <c:ptCount val="4"/>
                <c:pt idx="0">
                  <c:v>1665.943</c:v>
                </c:pt>
                <c:pt idx="1">
                  <c:v>1275.4697</c:v>
                </c:pt>
                <c:pt idx="2">
                  <c:v>1145.3687</c:v>
                </c:pt>
                <c:pt idx="3">
                  <c:v>1284.700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Edgewell</c:v>
                  </c:pt>
                  <c:pt idx="2">
                    <c:v>Total</c:v>
                  </c:pt>
                  <c:pt idx="3">
                    <c:v>Edgewell</c:v>
                  </c:pt>
                </c:lvl>
                <c:lvl>
                  <c:pt idx="0">
                    <c:v>Sunscreen Adults</c:v>
                  </c:pt>
                  <c:pt idx="2">
                    <c:v>Sunscreen Kids</c:v>
                  </c:pt>
                </c:lvl>
                <c:lvl>
                  <c:pt idx="0">
                    <c:v>Sunscreen</c:v>
                  </c:pt>
                </c:lvl>
              </c:multiLvlStrCache>
            </c:multiLvlStrRef>
          </c:cat>
          <c:val>
            <c:numRef>
              <c:f>Sheet1!$D$2:$D$5</c:f>
              <c:numCache>
                <c:formatCode>General</c:formatCode>
                <c:ptCount val="4"/>
                <c:pt idx="0">
                  <c:v>162.9</c:v>
                </c:pt>
                <c:pt idx="1">
                  <c:v>57.5</c:v>
                </c:pt>
                <c:pt idx="2">
                  <c:v>16.5</c:v>
                </c:pt>
                <c:pt idx="3">
                  <c:v>5.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20.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300.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211.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96.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Edgewell</c:v>
                  </c:pt>
                  <c:pt idx="2">
                    <c:v>Total</c:v>
                  </c:pt>
                  <c:pt idx="3">
                    <c:v>Edgewell</c:v>
                  </c:pt>
                </c:lvl>
                <c:lvl>
                  <c:pt idx="0">
                    <c:v>Sunscreen Adults</c:v>
                  </c:pt>
                  <c:pt idx="2">
                    <c:v>Sunscreen Kids</c:v>
                  </c:pt>
                </c:lvl>
                <c:lvl>
                  <c:pt idx="0">
                    <c:v>Sunscreen</c:v>
                  </c:pt>
                </c:lvl>
              </c:multiLvlStrCache>
            </c:multiLvlStrRef>
          </c:cat>
          <c:val>
            <c:numRef>
              <c:f>Sheet1!$E$2:$E$5</c:f>
              <c:numCache>
                <c:formatCode>General</c:formatCode>
                <c:ptCount val="4"/>
                <c:pt idx="0">
                  <c:v>1620.3788</c:v>
                </c:pt>
                <c:pt idx="1">
                  <c:v>1300.8857</c:v>
                </c:pt>
                <c:pt idx="2">
                  <c:v>1211.6323</c:v>
                </c:pt>
                <c:pt idx="3">
                  <c:v>1296.747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Hawaiian Tropic</c:v>
                  </c:pt>
                  <c:pt idx="2">
                    <c:v>Total</c:v>
                  </c:pt>
                  <c:pt idx="3">
                    <c:v>Hawaiian Tropic</c:v>
                  </c:pt>
                </c:lvl>
                <c:lvl>
                  <c:pt idx="0">
                    <c:v>Sunscreen Adults</c:v>
                  </c:pt>
                  <c:pt idx="2">
                    <c:v>Sunscreen Kids</c:v>
                  </c:pt>
                </c:lvl>
                <c:lvl>
                  <c:pt idx="0">
                    <c:v>Sunscreen</c:v>
                  </c:pt>
                </c:lvl>
              </c:multiLvlStrCache>
            </c:multiLvlStrRef>
          </c:cat>
          <c:val>
            <c:numRef>
              <c:f>Sheet1!$D$2:$D$5</c:f>
              <c:numCache>
                <c:formatCode>General</c:formatCode>
                <c:ptCount val="4"/>
                <c:pt idx="0">
                  <c:v>1419.7</c:v>
                </c:pt>
                <c:pt idx="1">
                  <c:v>245.7</c:v>
                </c:pt>
                <c:pt idx="2">
                  <c:v>139.7</c:v>
                </c:pt>
                <c:pt idx="3">
                  <c:v>0.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88.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14.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29.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89.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Hawaiian Tropic</c:v>
                  </c:pt>
                  <c:pt idx="2">
                    <c:v>Total</c:v>
                  </c:pt>
                  <c:pt idx="3">
                    <c:v>Hawaiian Tropic</c:v>
                  </c:pt>
                </c:lvl>
                <c:lvl>
                  <c:pt idx="0">
                    <c:v>Sunscreen Adults</c:v>
                  </c:pt>
                  <c:pt idx="2">
                    <c:v>Sunscreen Kids</c:v>
                  </c:pt>
                </c:lvl>
                <c:lvl>
                  <c:pt idx="0">
                    <c:v>Sunscreen</c:v>
                  </c:pt>
                </c:lvl>
              </c:multiLvlStrCache>
            </c:multiLvlStrRef>
          </c:cat>
          <c:val>
            <c:numRef>
              <c:f>Sheet1!$E$2:$E$5</c:f>
              <c:numCache>
                <c:formatCode>General</c:formatCode>
                <c:ptCount val="4"/>
                <c:pt idx="0">
                  <c:v>1688.7191</c:v>
                </c:pt>
                <c:pt idx="1">
                  <c:v>1214.043</c:v>
                </c:pt>
                <c:pt idx="2">
                  <c:v>1129.5238</c:v>
                </c:pt>
                <c:pt idx="3">
                  <c:v>589.352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Hawaiian Tropic</c:v>
                  </c:pt>
                  <c:pt idx="2">
                    <c:v>Total</c:v>
                  </c:pt>
                  <c:pt idx="3">
                    <c:v>Hawaiian Tropic</c:v>
                  </c:pt>
                </c:lvl>
                <c:lvl>
                  <c:pt idx="0">
                    <c:v>Sunscreen Adults</c:v>
                  </c:pt>
                  <c:pt idx="2">
                    <c:v>Sunscreen Kids</c:v>
                  </c:pt>
                </c:lvl>
                <c:lvl>
                  <c:pt idx="0">
                    <c:v>Sunscreen</c:v>
                  </c:pt>
                </c:lvl>
              </c:multiLvlStrCache>
            </c:multiLvlStrRef>
          </c:cat>
          <c:val>
            <c:numRef>
              <c:f>Sheet1!$D$2:$D$5</c:f>
              <c:numCache>
                <c:formatCode>General</c:formatCode>
                <c:ptCount val="4"/>
                <c:pt idx="0">
                  <c:v>309.0</c:v>
                </c:pt>
                <c:pt idx="1">
                  <c:v>54.1</c:v>
                </c:pt>
                <c:pt idx="2">
                  <c:v>27.7</c:v>
                </c:pt>
                <c:pt idx="3">
                  <c:v>0.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720.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21.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13.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8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Hawaiian Tropic</c:v>
                  </c:pt>
                  <c:pt idx="2">
                    <c:v>Total</c:v>
                  </c:pt>
                  <c:pt idx="3">
                    <c:v>Hawaiian Tropic</c:v>
                  </c:pt>
                </c:lvl>
                <c:lvl>
                  <c:pt idx="0">
                    <c:v>Sunscreen Adults</c:v>
                  </c:pt>
                  <c:pt idx="2">
                    <c:v>Sunscreen Kids</c:v>
                  </c:pt>
                </c:lvl>
                <c:lvl>
                  <c:pt idx="0">
                    <c:v>Sunscreen</c:v>
                  </c:pt>
                </c:lvl>
              </c:multiLvlStrCache>
            </c:multiLvlStrRef>
          </c:cat>
          <c:val>
            <c:numRef>
              <c:f>Sheet1!$E$2:$E$5</c:f>
              <c:numCache>
                <c:formatCode>General</c:formatCode>
                <c:ptCount val="4"/>
                <c:pt idx="0">
                  <c:v>1720.6779</c:v>
                </c:pt>
                <c:pt idx="1">
                  <c:v>1221.0676</c:v>
                </c:pt>
                <c:pt idx="2">
                  <c:v>1113.2074</c:v>
                </c:pt>
                <c:pt idx="3">
                  <c:v>584.098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Hawaiian Tropic</c:v>
                  </c:pt>
                  <c:pt idx="2">
                    <c:v>Total</c:v>
                  </c:pt>
                  <c:pt idx="3">
                    <c:v>Hawaiian Tropic</c:v>
                  </c:pt>
                </c:lvl>
                <c:lvl>
                  <c:pt idx="0">
                    <c:v>Sunscreen Adults</c:v>
                  </c:pt>
                  <c:pt idx="2">
                    <c:v>Sunscreen Kids</c:v>
                  </c:pt>
                </c:lvl>
                <c:lvl>
                  <c:pt idx="0">
                    <c:v>Sunscreen</c:v>
                  </c:pt>
                </c:lvl>
              </c:multiLvlStrCache>
            </c:multiLvlStrRef>
          </c:cat>
          <c:val>
            <c:numRef>
              <c:f>Sheet1!$D$2:$D$5</c:f>
              <c:numCache>
                <c:formatCode>General</c:formatCode>
                <c:ptCount val="4"/>
                <c:pt idx="0">
                  <c:v>268.6</c:v>
                </c:pt>
                <c:pt idx="1">
                  <c:v>32.2</c:v>
                </c:pt>
                <c:pt idx="2">
                  <c:v>21.6</c:v>
                </c:pt>
                <c:pt idx="3">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092.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78.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68.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720.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Hawaiian Tropic</c:v>
                  </c:pt>
                  <c:pt idx="2">
                    <c:v>Total</c:v>
                  </c:pt>
                  <c:pt idx="3">
                    <c:v>Hawaiian Tropic</c:v>
                  </c:pt>
                </c:lvl>
                <c:lvl>
                  <c:pt idx="0">
                    <c:v>Sunscreen Adults</c:v>
                  </c:pt>
                  <c:pt idx="2">
                    <c:v>Sunscreen Kids</c:v>
                  </c:pt>
                </c:lvl>
                <c:lvl>
                  <c:pt idx="0">
                    <c:v>Sunscreen</c:v>
                  </c:pt>
                </c:lvl>
              </c:multiLvlStrCache>
            </c:multiLvlStrRef>
          </c:cat>
          <c:val>
            <c:numRef>
              <c:f>Sheet1!$E$2:$E$5</c:f>
              <c:numCache>
                <c:formatCode>General</c:formatCode>
                <c:ptCount val="4"/>
                <c:pt idx="0">
                  <c:v>2092.9344</c:v>
                </c:pt>
                <c:pt idx="1">
                  <c:v>1178.1282</c:v>
                </c:pt>
                <c:pt idx="2">
                  <c:v>1168.932</c:v>
                </c:pt>
                <c:pt idx="3">
                  <c:v>720.61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Hawaiian Tropic</c:v>
                  </c:pt>
                  <c:pt idx="2">
                    <c:v>Total</c:v>
                  </c:pt>
                  <c:pt idx="3">
                    <c:v>Hawaiian Tropic</c:v>
                  </c:pt>
                </c:lvl>
                <c:lvl>
                  <c:pt idx="0">
                    <c:v>Sunscreen Adults</c:v>
                  </c:pt>
                  <c:pt idx="2">
                    <c:v>Sunscreen Kids</c:v>
                  </c:pt>
                </c:lvl>
                <c:lvl>
                  <c:pt idx="0">
                    <c:v>Sunscreen</c:v>
                  </c:pt>
                </c:lvl>
              </c:multiLvlStrCache>
            </c:multiLvlStrRef>
          </c:cat>
          <c:val>
            <c:numRef>
              <c:f>Sheet1!$D$2:$D$5</c:f>
              <c:numCache>
                <c:formatCode>General</c:formatCode>
                <c:ptCount val="4"/>
                <c:pt idx="0">
                  <c:v>230.2</c:v>
                </c:pt>
                <c:pt idx="1">
                  <c:v>45.8</c:v>
                </c:pt>
                <c:pt idx="2">
                  <c:v>26.1</c:v>
                </c:pt>
                <c:pt idx="3">
                  <c:v>0.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26.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79.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066.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47.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Hawaiian Tropic</c:v>
                  </c:pt>
                  <c:pt idx="2">
                    <c:v>Total</c:v>
                  </c:pt>
                  <c:pt idx="3">
                    <c:v>Hawaiian Tropic</c:v>
                  </c:pt>
                </c:lvl>
                <c:lvl>
                  <c:pt idx="0">
                    <c:v>Sunscreen Adults</c:v>
                  </c:pt>
                  <c:pt idx="2">
                    <c:v>Sunscreen Kids</c:v>
                  </c:pt>
                </c:lvl>
                <c:lvl>
                  <c:pt idx="0">
                    <c:v>Sunscreen</c:v>
                  </c:pt>
                </c:lvl>
              </c:multiLvlStrCache>
            </c:multiLvlStrRef>
          </c:cat>
          <c:val>
            <c:numRef>
              <c:f>Sheet1!$E$2:$E$5</c:f>
              <c:numCache>
                <c:formatCode>General</c:formatCode>
                <c:ptCount val="4"/>
                <c:pt idx="0">
                  <c:v>1426.1102</c:v>
                </c:pt>
                <c:pt idx="1">
                  <c:v>1179.6787</c:v>
                </c:pt>
                <c:pt idx="2">
                  <c:v>1066.3696</c:v>
                </c:pt>
                <c:pt idx="3">
                  <c:v>547.917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Hawaiian Tropic</c:v>
                  </c:pt>
                  <c:pt idx="2">
                    <c:v>Total</c:v>
                  </c:pt>
                  <c:pt idx="3">
                    <c:v>Hawaiian Tropic</c:v>
                  </c:pt>
                </c:lvl>
                <c:lvl>
                  <c:pt idx="0">
                    <c:v>Sunscreen Adults</c:v>
                  </c:pt>
                  <c:pt idx="2">
                    <c:v>Sunscreen Kids</c:v>
                  </c:pt>
                </c:lvl>
                <c:lvl>
                  <c:pt idx="0">
                    <c:v>Sunscreen</c:v>
                  </c:pt>
                </c:lvl>
              </c:multiLvlStrCache>
            </c:multiLvlStrRef>
          </c:cat>
          <c:val>
            <c:numRef>
              <c:f>Sheet1!$D$2:$D$5</c:f>
              <c:numCache>
                <c:formatCode>General</c:formatCode>
                <c:ptCount val="4"/>
                <c:pt idx="0">
                  <c:v>229.5</c:v>
                </c:pt>
                <c:pt idx="1">
                  <c:v>38.5</c:v>
                </c:pt>
                <c:pt idx="2">
                  <c:v>24.6</c:v>
                </c:pt>
                <c:pt idx="3">
                  <c:v>0.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50.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01.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1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94.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Hawaiian Tropic</c:v>
                  </c:pt>
                  <c:pt idx="2">
                    <c:v>Total</c:v>
                  </c:pt>
                  <c:pt idx="3">
                    <c:v>Hawaiian Tropic</c:v>
                  </c:pt>
                </c:lvl>
                <c:lvl>
                  <c:pt idx="0">
                    <c:v>Sunscreen Adults</c:v>
                  </c:pt>
                  <c:pt idx="2">
                    <c:v>Sunscreen Kids</c:v>
                  </c:pt>
                </c:lvl>
                <c:lvl>
                  <c:pt idx="0">
                    <c:v>Sunscreen</c:v>
                  </c:pt>
                </c:lvl>
              </c:multiLvlStrCache>
            </c:multiLvlStrRef>
          </c:cat>
          <c:val>
            <c:numRef>
              <c:f>Sheet1!$E$2:$E$5</c:f>
              <c:numCache>
                <c:formatCode>General</c:formatCode>
                <c:ptCount val="4"/>
                <c:pt idx="0">
                  <c:v>1650.2656</c:v>
                </c:pt>
                <c:pt idx="1">
                  <c:v>1201.8362</c:v>
                </c:pt>
                <c:pt idx="2">
                  <c:v>1119.7041</c:v>
                </c:pt>
                <c:pt idx="3">
                  <c:v>594.513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Hawaiian Tropic</c:v>
                  </c:pt>
                  <c:pt idx="2">
                    <c:v>Total</c:v>
                  </c:pt>
                  <c:pt idx="3">
                    <c:v>Hawaiian Tropic</c:v>
                  </c:pt>
                </c:lvl>
                <c:lvl>
                  <c:pt idx="0">
                    <c:v>Sunscreen Adults</c:v>
                  </c:pt>
                  <c:pt idx="2">
                    <c:v>Sunscreen Kids</c:v>
                  </c:pt>
                </c:lvl>
                <c:lvl>
                  <c:pt idx="0">
                    <c:v>Sunscreen</c:v>
                  </c:pt>
                </c:lvl>
              </c:multiLvlStrCache>
            </c:multiLvlStrRef>
          </c:cat>
          <c:val>
            <c:numRef>
              <c:f>Sheet1!$D$2:$D$5</c:f>
              <c:numCache>
                <c:formatCode>General</c:formatCode>
                <c:ptCount val="4"/>
                <c:pt idx="0">
                  <c:v>219.5</c:v>
                </c:pt>
                <c:pt idx="1">
                  <c:v>43.5</c:v>
                </c:pt>
                <c:pt idx="2">
                  <c:v>23.2</c:v>
                </c:pt>
                <c:pt idx="3">
                  <c:v>0.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65.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50.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45.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645.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Hawaiian Tropic</c:v>
                  </c:pt>
                  <c:pt idx="2">
                    <c:v>Total</c:v>
                  </c:pt>
                  <c:pt idx="3">
                    <c:v>Hawaiian Tropic</c:v>
                  </c:pt>
                </c:lvl>
                <c:lvl>
                  <c:pt idx="0">
                    <c:v>Sunscreen Adults</c:v>
                  </c:pt>
                  <c:pt idx="2">
                    <c:v>Sunscreen Kids</c:v>
                  </c:pt>
                </c:lvl>
                <c:lvl>
                  <c:pt idx="0">
                    <c:v>Sunscreen</c:v>
                  </c:pt>
                </c:lvl>
              </c:multiLvlStrCache>
            </c:multiLvlStrRef>
          </c:cat>
          <c:val>
            <c:numRef>
              <c:f>Sheet1!$E$2:$E$5</c:f>
              <c:numCache>
                <c:formatCode>General</c:formatCode>
                <c:ptCount val="4"/>
                <c:pt idx="0">
                  <c:v>1665.943</c:v>
                </c:pt>
                <c:pt idx="1">
                  <c:v>1250.125</c:v>
                </c:pt>
                <c:pt idx="2">
                  <c:v>1145.3687</c:v>
                </c:pt>
                <c:pt idx="3">
                  <c:v>645.62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2B5C8B18-315E-49DF-A5A0-BF230519D6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4D3D515A-4786-4CB4-AA16-5BF39E303D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27D9528D-E254-4832-8409-DCDEB71400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1BAB01C3-78D0-4B89-9672-9189E632A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A4B7CB6D-3934-4432-9A62-343B124DF4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9D6243AC-78EE-41BB-BBD5-7267BE104B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563045F8-C11E-40D5-A41D-4CC0991446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EC14293B-5004-4F84-9DCE-35F4DBD483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69.85</c:v>
                </c:pt>
                <c:pt idx="1">
                  <c:v>136.4699</c:v>
                </c:pt>
                <c:pt idx="2">
                  <c:v>112.9348</c:v>
                </c:pt>
                <c:pt idx="3">
                  <c:v>250.0581</c:v>
                </c:pt>
              </c:numCache>
            </c:numRef>
          </c:xVal>
          <c:yVal>
            <c:numRef>
              <c:f>Sheet1!$B$2:$B$5</c:f>
              <c:numCache>
                <c:formatCode>General</c:formatCode>
                <c:ptCount val="4"/>
                <c:pt idx="0">
                  <c:v>1.223</c:v>
                </c:pt>
                <c:pt idx="1">
                  <c:v>0.745</c:v>
                </c:pt>
                <c:pt idx="2">
                  <c:v>0.974</c:v>
                </c:pt>
                <c:pt idx="3">
                  <c:v>3.034</c:v>
                </c:pt>
              </c:numCache>
            </c:numRef>
          </c:yVal>
          <c:bubbleSize>
            <c:numRef>
              <c:f>Sheet1!$C$2:$C$5</c:f>
              <c:numCache>
                <c:formatCode>General</c:formatCode>
                <c:ptCount val="4"/>
                <c:pt idx="0">
                  <c:v>1178419</c:v>
                </c:pt>
                <c:pt idx="1">
                  <c:v>940414</c:v>
                </c:pt>
                <c:pt idx="2">
                  <c:v>567949</c:v>
                </c:pt>
                <c:pt idx="3">
                  <c:v>3875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0.0"/>
          <c:min val="90.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Hawaiian Tropic</c:v>
                  </c:pt>
                  <c:pt idx="2">
                    <c:v>Total</c:v>
                  </c:pt>
                  <c:pt idx="3">
                    <c:v>Hawaiian Tropic</c:v>
                  </c:pt>
                </c:lvl>
                <c:lvl>
                  <c:pt idx="0">
                    <c:v>Sunscreen Adults</c:v>
                  </c:pt>
                  <c:pt idx="2">
                    <c:v>Sunscreen Kids</c:v>
                  </c:pt>
                </c:lvl>
                <c:lvl>
                  <c:pt idx="0">
                    <c:v>Sunscreen</c:v>
                  </c:pt>
                </c:lvl>
              </c:multiLvlStrCache>
            </c:multiLvlStrRef>
          </c:cat>
          <c:val>
            <c:numRef>
              <c:f>Sheet1!$D$2:$D$5</c:f>
              <c:numCache>
                <c:formatCode>General</c:formatCode>
                <c:ptCount val="4"/>
                <c:pt idx="0">
                  <c:v>162.9</c:v>
                </c:pt>
                <c:pt idx="1">
                  <c:v>31.6</c:v>
                </c:pt>
                <c:pt idx="2">
                  <c:v>16.5</c:v>
                </c:pt>
                <c:pt idx="3">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20.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59.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211.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53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Hawaiian Tropic</c:v>
                  </c:pt>
                  <c:pt idx="2">
                    <c:v>Total</c:v>
                  </c:pt>
                  <c:pt idx="3">
                    <c:v>Hawaiian Tropic</c:v>
                  </c:pt>
                </c:lvl>
                <c:lvl>
                  <c:pt idx="0">
                    <c:v>Sunscreen Adults</c:v>
                  </c:pt>
                  <c:pt idx="2">
                    <c:v>Sunscreen Kids</c:v>
                  </c:pt>
                </c:lvl>
                <c:lvl>
                  <c:pt idx="0">
                    <c:v>Sunscreen</c:v>
                  </c:pt>
                </c:lvl>
              </c:multiLvlStrCache>
            </c:multiLvlStrRef>
          </c:cat>
          <c:val>
            <c:numRef>
              <c:f>Sheet1!$E$2:$E$5</c:f>
              <c:numCache>
                <c:formatCode>General</c:formatCode>
                <c:ptCount val="4"/>
                <c:pt idx="0">
                  <c:v>1620.3788</c:v>
                </c:pt>
                <c:pt idx="1">
                  <c:v>1259.5283</c:v>
                </c:pt>
                <c:pt idx="2">
                  <c:v>1211.6323</c:v>
                </c:pt>
                <c:pt idx="3">
                  <c:v>533.25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anana Boat</c:v>
                  </c:pt>
                  <c:pt idx="2">
                    <c:v>Total</c:v>
                  </c:pt>
                  <c:pt idx="3">
                    <c:v>Banana Boat</c:v>
                  </c:pt>
                </c:lvl>
                <c:lvl>
                  <c:pt idx="0">
                    <c:v>Sunscreen Adults</c:v>
                  </c:pt>
                  <c:pt idx="2">
                    <c:v>Sunscreen Kids</c:v>
                  </c:pt>
                </c:lvl>
                <c:lvl>
                  <c:pt idx="0">
                    <c:v>Sunscreen</c:v>
                  </c:pt>
                </c:lvl>
              </c:multiLvlStrCache>
            </c:multiLvlStrRef>
          </c:cat>
          <c:val>
            <c:numRef>
              <c:f>Sheet1!$D$2:$D$5</c:f>
              <c:numCache>
                <c:formatCode>General</c:formatCode>
                <c:ptCount val="4"/>
                <c:pt idx="0">
                  <c:v>1419.7</c:v>
                </c:pt>
                <c:pt idx="1">
                  <c:v>163.5</c:v>
                </c:pt>
                <c:pt idx="2">
                  <c:v>139.7</c:v>
                </c:pt>
                <c:pt idx="3">
                  <c:v>40.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88.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14.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29.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18.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anana Boat</c:v>
                  </c:pt>
                  <c:pt idx="2">
                    <c:v>Total</c:v>
                  </c:pt>
                  <c:pt idx="3">
                    <c:v>Banana Boat</c:v>
                  </c:pt>
                </c:lvl>
                <c:lvl>
                  <c:pt idx="0">
                    <c:v>Sunscreen Adults</c:v>
                  </c:pt>
                  <c:pt idx="2">
                    <c:v>Sunscreen Kids</c:v>
                  </c:pt>
                </c:lvl>
                <c:lvl>
                  <c:pt idx="0">
                    <c:v>Sunscreen</c:v>
                  </c:pt>
                </c:lvl>
              </c:multiLvlStrCache>
            </c:multiLvlStrRef>
          </c:cat>
          <c:val>
            <c:numRef>
              <c:f>Sheet1!$E$2:$E$5</c:f>
              <c:numCache>
                <c:formatCode>General</c:formatCode>
                <c:ptCount val="4"/>
                <c:pt idx="0">
                  <c:v>1688.7191</c:v>
                </c:pt>
                <c:pt idx="1">
                  <c:v>1214.0245</c:v>
                </c:pt>
                <c:pt idx="2">
                  <c:v>1129.5238</c:v>
                </c:pt>
                <c:pt idx="3">
                  <c:v>1218.68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anana Boat</c:v>
                  </c:pt>
                  <c:pt idx="2">
                    <c:v>Total</c:v>
                  </c:pt>
                  <c:pt idx="3">
                    <c:v>Banana Boat</c:v>
                  </c:pt>
                </c:lvl>
                <c:lvl>
                  <c:pt idx="0">
                    <c:v>Sunscreen Adults</c:v>
                  </c:pt>
                  <c:pt idx="2">
                    <c:v>Sunscreen Kids</c:v>
                  </c:pt>
                </c:lvl>
                <c:lvl>
                  <c:pt idx="0">
                    <c:v>Sunscreen</c:v>
                  </c:pt>
                </c:lvl>
              </c:multiLvlStrCache>
            </c:multiLvlStrRef>
          </c:cat>
          <c:val>
            <c:numRef>
              <c:f>Sheet1!$D$2:$D$5</c:f>
              <c:numCache>
                <c:formatCode>General</c:formatCode>
                <c:ptCount val="4"/>
                <c:pt idx="0">
                  <c:v>309.0</c:v>
                </c:pt>
                <c:pt idx="1">
                  <c:v>32.1</c:v>
                </c:pt>
                <c:pt idx="2">
                  <c:v>27.7</c:v>
                </c:pt>
                <c:pt idx="3">
                  <c:v>7.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720.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7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13.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2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anana Boat</c:v>
                  </c:pt>
                  <c:pt idx="2">
                    <c:v>Total</c:v>
                  </c:pt>
                  <c:pt idx="3">
                    <c:v>Banana Boat</c:v>
                  </c:pt>
                </c:lvl>
                <c:lvl>
                  <c:pt idx="0">
                    <c:v>Sunscreen Adults</c:v>
                  </c:pt>
                  <c:pt idx="2">
                    <c:v>Sunscreen Kids</c:v>
                  </c:pt>
                </c:lvl>
                <c:lvl>
                  <c:pt idx="0">
                    <c:v>Sunscreen</c:v>
                  </c:pt>
                </c:lvl>
              </c:multiLvlStrCache>
            </c:multiLvlStrRef>
          </c:cat>
          <c:val>
            <c:numRef>
              <c:f>Sheet1!$E$2:$E$5</c:f>
              <c:numCache>
                <c:formatCode>General</c:formatCode>
                <c:ptCount val="4"/>
                <c:pt idx="0">
                  <c:v>1720.6779</c:v>
                </c:pt>
                <c:pt idx="1">
                  <c:v>1172.3556</c:v>
                </c:pt>
                <c:pt idx="2">
                  <c:v>1113.2074</c:v>
                </c:pt>
                <c:pt idx="3">
                  <c:v>1222.903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anana Boat</c:v>
                  </c:pt>
                  <c:pt idx="2">
                    <c:v>Total</c:v>
                  </c:pt>
                  <c:pt idx="3">
                    <c:v>Banana Boat</c:v>
                  </c:pt>
                </c:lvl>
                <c:lvl>
                  <c:pt idx="0">
                    <c:v>Sunscreen Adults</c:v>
                  </c:pt>
                  <c:pt idx="2">
                    <c:v>Sunscreen Kids</c:v>
                  </c:pt>
                </c:lvl>
                <c:lvl>
                  <c:pt idx="0">
                    <c:v>Sunscreen</c:v>
                  </c:pt>
                </c:lvl>
              </c:multiLvlStrCache>
            </c:multiLvlStrRef>
          </c:cat>
          <c:val>
            <c:numRef>
              <c:f>Sheet1!$D$2:$D$5</c:f>
              <c:numCache>
                <c:formatCode>General</c:formatCode>
                <c:ptCount val="4"/>
                <c:pt idx="0">
                  <c:v>268.6</c:v>
                </c:pt>
                <c:pt idx="1">
                  <c:v>24.7</c:v>
                </c:pt>
                <c:pt idx="2">
                  <c:v>21.6</c:v>
                </c:pt>
                <c:pt idx="3">
                  <c:v>6.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092.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71.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68.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80.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anana Boat</c:v>
                  </c:pt>
                  <c:pt idx="2">
                    <c:v>Total</c:v>
                  </c:pt>
                  <c:pt idx="3">
                    <c:v>Banana Boat</c:v>
                  </c:pt>
                </c:lvl>
                <c:lvl>
                  <c:pt idx="0">
                    <c:v>Sunscreen Adults</c:v>
                  </c:pt>
                  <c:pt idx="2">
                    <c:v>Sunscreen Kids</c:v>
                  </c:pt>
                </c:lvl>
                <c:lvl>
                  <c:pt idx="0">
                    <c:v>Sunscreen</c:v>
                  </c:pt>
                </c:lvl>
              </c:multiLvlStrCache>
            </c:multiLvlStrRef>
          </c:cat>
          <c:val>
            <c:numRef>
              <c:f>Sheet1!$E$2:$E$5</c:f>
              <c:numCache>
                <c:formatCode>General</c:formatCode>
                <c:ptCount val="4"/>
                <c:pt idx="0">
                  <c:v>2092.9344</c:v>
                </c:pt>
                <c:pt idx="1">
                  <c:v>1171.4626</c:v>
                </c:pt>
                <c:pt idx="2">
                  <c:v>1168.932</c:v>
                </c:pt>
                <c:pt idx="3">
                  <c:v>1180.249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anana Boat</c:v>
                  </c:pt>
                  <c:pt idx="2">
                    <c:v>Total</c:v>
                  </c:pt>
                  <c:pt idx="3">
                    <c:v>Banana Boat</c:v>
                  </c:pt>
                </c:lvl>
                <c:lvl>
                  <c:pt idx="0">
                    <c:v>Sunscreen Adults</c:v>
                  </c:pt>
                  <c:pt idx="2">
                    <c:v>Sunscreen Kids</c:v>
                  </c:pt>
                </c:lvl>
                <c:lvl>
                  <c:pt idx="0">
                    <c:v>Sunscreen</c:v>
                  </c:pt>
                </c:lvl>
              </c:multiLvlStrCache>
            </c:multiLvlStrRef>
          </c:cat>
          <c:val>
            <c:numRef>
              <c:f>Sheet1!$D$2:$D$5</c:f>
              <c:numCache>
                <c:formatCode>General</c:formatCode>
                <c:ptCount val="4"/>
                <c:pt idx="0">
                  <c:v>230.2</c:v>
                </c:pt>
                <c:pt idx="1">
                  <c:v>27.0</c:v>
                </c:pt>
                <c:pt idx="2">
                  <c:v>26.1</c:v>
                </c:pt>
                <c:pt idx="3">
                  <c:v>6.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26.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25.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066.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15.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anana Boat</c:v>
                  </c:pt>
                  <c:pt idx="2">
                    <c:v>Total</c:v>
                  </c:pt>
                  <c:pt idx="3">
                    <c:v>Banana Boat</c:v>
                  </c:pt>
                </c:lvl>
                <c:lvl>
                  <c:pt idx="0">
                    <c:v>Sunscreen Adults</c:v>
                  </c:pt>
                  <c:pt idx="2">
                    <c:v>Sunscreen Kids</c:v>
                  </c:pt>
                </c:lvl>
                <c:lvl>
                  <c:pt idx="0">
                    <c:v>Sunscreen</c:v>
                  </c:pt>
                </c:lvl>
              </c:multiLvlStrCache>
            </c:multiLvlStrRef>
          </c:cat>
          <c:val>
            <c:numRef>
              <c:f>Sheet1!$E$2:$E$5</c:f>
              <c:numCache>
                <c:formatCode>General</c:formatCode>
                <c:ptCount val="4"/>
                <c:pt idx="0">
                  <c:v>1426.1102</c:v>
                </c:pt>
                <c:pt idx="1">
                  <c:v>1225.5521</c:v>
                </c:pt>
                <c:pt idx="2">
                  <c:v>1066.3696</c:v>
                </c:pt>
                <c:pt idx="3">
                  <c:v>1115.4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anana Boat</c:v>
                  </c:pt>
                  <c:pt idx="2">
                    <c:v>Total</c:v>
                  </c:pt>
                  <c:pt idx="3">
                    <c:v>Banana Boat</c:v>
                  </c:pt>
                </c:lvl>
                <c:lvl>
                  <c:pt idx="0">
                    <c:v>Sunscreen Adults</c:v>
                  </c:pt>
                  <c:pt idx="2">
                    <c:v>Sunscreen Kids</c:v>
                  </c:pt>
                </c:lvl>
                <c:lvl>
                  <c:pt idx="0">
                    <c:v>Sunscreen</c:v>
                  </c:pt>
                </c:lvl>
              </c:multiLvlStrCache>
            </c:multiLvlStrRef>
          </c:cat>
          <c:val>
            <c:numRef>
              <c:f>Sheet1!$D$2:$D$5</c:f>
              <c:numCache>
                <c:formatCode>General</c:formatCode>
                <c:ptCount val="4"/>
                <c:pt idx="0">
                  <c:v>229.5</c:v>
                </c:pt>
                <c:pt idx="1">
                  <c:v>24.0</c:v>
                </c:pt>
                <c:pt idx="2">
                  <c:v>24.6</c:v>
                </c:pt>
                <c:pt idx="3">
                  <c:v>6.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50.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71.8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1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07.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anana Boat</c:v>
                  </c:pt>
                  <c:pt idx="2">
                    <c:v>Total</c:v>
                  </c:pt>
                  <c:pt idx="3">
                    <c:v>Banana Boat</c:v>
                  </c:pt>
                </c:lvl>
                <c:lvl>
                  <c:pt idx="0">
                    <c:v>Sunscreen Adults</c:v>
                  </c:pt>
                  <c:pt idx="2">
                    <c:v>Sunscreen Kids</c:v>
                  </c:pt>
                </c:lvl>
                <c:lvl>
                  <c:pt idx="0">
                    <c:v>Sunscreen</c:v>
                  </c:pt>
                </c:lvl>
              </c:multiLvlStrCache>
            </c:multiLvlStrRef>
          </c:cat>
          <c:val>
            <c:numRef>
              <c:f>Sheet1!$E$2:$E$5</c:f>
              <c:numCache>
                <c:formatCode>General</c:formatCode>
                <c:ptCount val="4"/>
                <c:pt idx="0">
                  <c:v>1650.2656</c:v>
                </c:pt>
                <c:pt idx="1">
                  <c:v>1171.8741</c:v>
                </c:pt>
                <c:pt idx="2">
                  <c:v>1119.7041</c:v>
                </c:pt>
                <c:pt idx="3">
                  <c:v>1207.694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anana Boat</c:v>
                  </c:pt>
                  <c:pt idx="2">
                    <c:v>Total</c:v>
                  </c:pt>
                  <c:pt idx="3">
                    <c:v>Banana Boat</c:v>
                  </c:pt>
                </c:lvl>
                <c:lvl>
                  <c:pt idx="0">
                    <c:v>Sunscreen Adults</c:v>
                  </c:pt>
                  <c:pt idx="2">
                    <c:v>Sunscreen Kids</c:v>
                  </c:pt>
                </c:lvl>
                <c:lvl>
                  <c:pt idx="0">
                    <c:v>Sunscreen</c:v>
                  </c:pt>
                </c:lvl>
              </c:multiLvlStrCache>
            </c:multiLvlStrRef>
          </c:cat>
          <c:val>
            <c:numRef>
              <c:f>Sheet1!$D$2:$D$5</c:f>
              <c:numCache>
                <c:formatCode>General</c:formatCode>
                <c:ptCount val="4"/>
                <c:pt idx="0">
                  <c:v>219.5</c:v>
                </c:pt>
                <c:pt idx="1">
                  <c:v>31.1</c:v>
                </c:pt>
                <c:pt idx="2">
                  <c:v>23.2</c:v>
                </c:pt>
                <c:pt idx="3">
                  <c:v>7.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65.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55.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45.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93.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anana Boat</c:v>
                  </c:pt>
                  <c:pt idx="2">
                    <c:v>Total</c:v>
                  </c:pt>
                  <c:pt idx="3">
                    <c:v>Banana Boat</c:v>
                  </c:pt>
                </c:lvl>
                <c:lvl>
                  <c:pt idx="0">
                    <c:v>Sunscreen Adults</c:v>
                  </c:pt>
                  <c:pt idx="2">
                    <c:v>Sunscreen Kids</c:v>
                  </c:pt>
                </c:lvl>
                <c:lvl>
                  <c:pt idx="0">
                    <c:v>Sunscreen</c:v>
                  </c:pt>
                </c:lvl>
              </c:multiLvlStrCache>
            </c:multiLvlStrRef>
          </c:cat>
          <c:val>
            <c:numRef>
              <c:f>Sheet1!$E$2:$E$5</c:f>
              <c:numCache>
                <c:formatCode>General</c:formatCode>
                <c:ptCount val="4"/>
                <c:pt idx="0">
                  <c:v>1665.943</c:v>
                </c:pt>
                <c:pt idx="1">
                  <c:v>1255.5078</c:v>
                </c:pt>
                <c:pt idx="2">
                  <c:v>1145.3687</c:v>
                </c:pt>
                <c:pt idx="3">
                  <c:v>1293.879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anana Boat</c:v>
                  </c:pt>
                  <c:pt idx="2">
                    <c:v>Total</c:v>
                  </c:pt>
                  <c:pt idx="3">
                    <c:v>Banana Boat</c:v>
                  </c:pt>
                </c:lvl>
                <c:lvl>
                  <c:pt idx="0">
                    <c:v>Sunscreen Adults</c:v>
                  </c:pt>
                  <c:pt idx="2">
                    <c:v>Sunscreen Kids</c:v>
                  </c:pt>
                </c:lvl>
                <c:lvl>
                  <c:pt idx="0">
                    <c:v>Sunscreen</c:v>
                  </c:pt>
                </c:lvl>
              </c:multiLvlStrCache>
            </c:multiLvlStrRef>
          </c:cat>
          <c:val>
            <c:numRef>
              <c:f>Sheet1!$D$2:$D$5</c:f>
              <c:numCache>
                <c:formatCode>General</c:formatCode>
                <c:ptCount val="4"/>
                <c:pt idx="0">
                  <c:v>162.9</c:v>
                </c:pt>
                <c:pt idx="1">
                  <c:v>24.4</c:v>
                </c:pt>
                <c:pt idx="2">
                  <c:v>16.5</c:v>
                </c:pt>
                <c:pt idx="3">
                  <c:v>5.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20.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300.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211.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311.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anana Boat</c:v>
                  </c:pt>
                  <c:pt idx="2">
                    <c:v>Total</c:v>
                  </c:pt>
                  <c:pt idx="3">
                    <c:v>Banana Boat</c:v>
                  </c:pt>
                </c:lvl>
                <c:lvl>
                  <c:pt idx="0">
                    <c:v>Sunscreen Adults</c:v>
                  </c:pt>
                  <c:pt idx="2">
                    <c:v>Sunscreen Kids</c:v>
                  </c:pt>
                </c:lvl>
                <c:lvl>
                  <c:pt idx="0">
                    <c:v>Sunscreen</c:v>
                  </c:pt>
                </c:lvl>
              </c:multiLvlStrCache>
            </c:multiLvlStrRef>
          </c:cat>
          <c:val>
            <c:numRef>
              <c:f>Sheet1!$E$2:$E$5</c:f>
              <c:numCache>
                <c:formatCode>General</c:formatCode>
                <c:ptCount val="4"/>
                <c:pt idx="0">
                  <c:v>1620.3788</c:v>
                </c:pt>
                <c:pt idx="1">
                  <c:v>1300.564</c:v>
                </c:pt>
                <c:pt idx="2">
                  <c:v>1211.6323</c:v>
                </c:pt>
                <c:pt idx="3">
                  <c:v>1311.640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eauty Care</c:v>
                  </c:pt>
                  <c:pt idx="2">
                    <c:v>Total</c:v>
                  </c:pt>
                  <c:pt idx="3">
                    <c:v>Beauty Care</c:v>
                  </c:pt>
                </c:lvl>
                <c:lvl>
                  <c:pt idx="0">
                    <c:v>Sunscreen Adults</c:v>
                  </c:pt>
                  <c:pt idx="2">
                    <c:v>Sunscreen Kids</c:v>
                  </c:pt>
                </c:lvl>
                <c:lvl>
                  <c:pt idx="0">
                    <c:v>Sunscreen</c:v>
                  </c:pt>
                </c:lvl>
              </c:multiLvlStrCache>
            </c:multiLvlStrRef>
          </c:cat>
          <c:val>
            <c:numRef>
              <c:f>Sheet1!$D$2:$D$5</c:f>
              <c:numCache>
                <c:formatCode>General</c:formatCode>
                <c:ptCount val="4"/>
                <c:pt idx="0">
                  <c:v>1419.7</c:v>
                </c:pt>
                <c:pt idx="1">
                  <c:v>12.5</c:v>
                </c:pt>
                <c:pt idx="2">
                  <c:v>139.7</c:v>
                </c:pt>
                <c:pt idx="3">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88.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4025.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29.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eauty Care</c:v>
                  </c:pt>
                  <c:pt idx="2">
                    <c:v>Total</c:v>
                  </c:pt>
                  <c:pt idx="3">
                    <c:v>Beauty Care</c:v>
                  </c:pt>
                </c:lvl>
                <c:lvl>
                  <c:pt idx="0">
                    <c:v>Sunscreen Adults</c:v>
                  </c:pt>
                  <c:pt idx="2">
                    <c:v>Sunscreen Kids</c:v>
                  </c:pt>
                </c:lvl>
                <c:lvl>
                  <c:pt idx="0">
                    <c:v>Sunscreen</c:v>
                  </c:pt>
                </c:lvl>
              </c:multiLvlStrCache>
            </c:multiLvlStrRef>
          </c:cat>
          <c:val>
            <c:numRef>
              <c:f>Sheet1!$E$2:$E$5</c:f>
              <c:numCache>
                <c:formatCode>General</c:formatCode>
                <c:ptCount val="4"/>
                <c:pt idx="0">
                  <c:v>1688.7191</c:v>
                </c:pt>
                <c:pt idx="1">
                  <c:v>4025.5318</c:v>
                </c:pt>
                <c:pt idx="2">
                  <c:v>1129.5238</c:v>
                </c:pt>
                <c:pt idx="3">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eauty Care</c:v>
                  </c:pt>
                  <c:pt idx="2">
                    <c:v>Total</c:v>
                  </c:pt>
                  <c:pt idx="3">
                    <c:v>Beauty Care</c:v>
                  </c:pt>
                </c:lvl>
                <c:lvl>
                  <c:pt idx="0">
                    <c:v>Sunscreen Adults</c:v>
                  </c:pt>
                  <c:pt idx="2">
                    <c:v>Sunscreen Kids</c:v>
                  </c:pt>
                </c:lvl>
                <c:lvl>
                  <c:pt idx="0">
                    <c:v>Sunscreen</c:v>
                  </c:pt>
                </c:lvl>
              </c:multiLvlStrCache>
            </c:multiLvlStrRef>
          </c:cat>
          <c:val>
            <c:numRef>
              <c:f>Sheet1!$D$2:$D$5</c:f>
              <c:numCache>
                <c:formatCode>General</c:formatCode>
                <c:ptCount val="4"/>
                <c:pt idx="0">
                  <c:v>309.0</c:v>
                </c:pt>
                <c:pt idx="1">
                  <c:v>3.0</c:v>
                </c:pt>
                <c:pt idx="2">
                  <c:v>27.7</c:v>
                </c:pt>
                <c:pt idx="3">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720.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434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13.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eauty Care</c:v>
                  </c:pt>
                  <c:pt idx="2">
                    <c:v>Total</c:v>
                  </c:pt>
                  <c:pt idx="3">
                    <c:v>Beauty Care</c:v>
                  </c:pt>
                </c:lvl>
                <c:lvl>
                  <c:pt idx="0">
                    <c:v>Sunscreen Adults</c:v>
                  </c:pt>
                  <c:pt idx="2">
                    <c:v>Sunscreen Kids</c:v>
                  </c:pt>
                </c:lvl>
                <c:lvl>
                  <c:pt idx="0">
                    <c:v>Sunscreen</c:v>
                  </c:pt>
                </c:lvl>
              </c:multiLvlStrCache>
            </c:multiLvlStrRef>
          </c:cat>
          <c:val>
            <c:numRef>
              <c:f>Sheet1!$E$2:$E$5</c:f>
              <c:numCache>
                <c:formatCode>General</c:formatCode>
                <c:ptCount val="4"/>
                <c:pt idx="0">
                  <c:v>1720.6779</c:v>
                </c:pt>
                <c:pt idx="1">
                  <c:v>4341.905</c:v>
                </c:pt>
                <c:pt idx="2">
                  <c:v>1113.2074</c:v>
                </c:pt>
                <c:pt idx="3">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E931F7F-8776-4F65-B2EB-64B88B6DC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DC99853-58DA-401E-B960-248C62A9E8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56BEFC8-1CA8-4C1D-AC5B-0BDFE78627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BBA4904-F359-43FF-ADB3-AA804BCCC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8A152E0-091C-4B8A-8403-1491FD7C76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C8B9BEB-3B67-4C15-80F8-282AA78E11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5D8A6D2-C9B0-47DA-B00F-D6E5E20FCC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6C71879-8AC4-4B05-B8E8-02907F3CA7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2.0453</c:v>
                </c:pt>
                <c:pt idx="1">
                  <c:v>209.3439</c:v>
                </c:pt>
                <c:pt idx="2">
                  <c:v>225.2062</c:v>
                </c:pt>
                <c:pt idx="3">
                  <c:v>576.4046</c:v>
                </c:pt>
                <c:pt idx="4">
                  <c:v>291.3579</c:v>
                </c:pt>
                <c:pt idx="5">
                  <c:v>87.3801</c:v>
                </c:pt>
                <c:pt idx="6">
                  <c:v>560.5796</c:v>
                </c:pt>
                <c:pt idx="7">
                  <c:v>206.3025</c:v>
                </c:pt>
              </c:numCache>
            </c:numRef>
          </c:xVal>
          <c:yVal>
            <c:numRef>
              <c:f>Sheet1!$B$2:$B$9</c:f>
              <c:numCache>
                <c:formatCode>General</c:formatCode>
                <c:ptCount val="8"/>
                <c:pt idx="0">
                  <c:v>1.008</c:v>
                </c:pt>
                <c:pt idx="1">
                  <c:v>0.719</c:v>
                </c:pt>
                <c:pt idx="2">
                  <c:v>0.719</c:v>
                </c:pt>
                <c:pt idx="3">
                  <c:v>3.888</c:v>
                </c:pt>
                <c:pt idx="4">
                  <c:v>1.913</c:v>
                </c:pt>
                <c:pt idx="5">
                  <c:v>0.406</c:v>
                </c:pt>
                <c:pt idx="6">
                  <c:v>6.171</c:v>
                </c:pt>
                <c:pt idx="7">
                  <c:v>2.384</c:v>
                </c:pt>
              </c:numCache>
            </c:numRef>
          </c:yVal>
          <c:bubbleSize>
            <c:numRef>
              <c:f>Sheet1!$C$2:$C$9</c:f>
              <c:numCache>
                <c:formatCode>General</c:formatCode>
                <c:ptCount val="8"/>
                <c:pt idx="0">
                  <c:v>462155258</c:v>
                </c:pt>
                <c:pt idx="1">
                  <c:v>245682239</c:v>
                </c:pt>
                <c:pt idx="2">
                  <c:v>163452614</c:v>
                </c:pt>
                <c:pt idx="3">
                  <c:v>105220346</c:v>
                </c:pt>
                <c:pt idx="4">
                  <c:v>101346207</c:v>
                </c:pt>
                <c:pt idx="5">
                  <c:v>48849248</c:v>
                </c:pt>
                <c:pt idx="6">
                  <c:v>41745239</c:v>
                </c:pt>
                <c:pt idx="7">
                  <c:v>1245902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2.0"/>
          <c:min val="70.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eauty Care</c:v>
                  </c:pt>
                  <c:pt idx="2">
                    <c:v>Total</c:v>
                  </c:pt>
                  <c:pt idx="3">
                    <c:v>Beauty Care</c:v>
                  </c:pt>
                </c:lvl>
                <c:lvl>
                  <c:pt idx="0">
                    <c:v>Sunscreen Adults</c:v>
                  </c:pt>
                  <c:pt idx="2">
                    <c:v>Sunscreen Kids</c:v>
                  </c:pt>
                </c:lvl>
                <c:lvl>
                  <c:pt idx="0">
                    <c:v>Sunscreen</c:v>
                  </c:pt>
                </c:lvl>
              </c:multiLvlStrCache>
            </c:multiLvlStrRef>
          </c:cat>
          <c:val>
            <c:numRef>
              <c:f>Sheet1!$D$2:$D$5</c:f>
              <c:numCache>
                <c:formatCode>General</c:formatCode>
                <c:ptCount val="4"/>
                <c:pt idx="0">
                  <c:v>268.6</c:v>
                </c:pt>
                <c:pt idx="1">
                  <c:v>1.9</c:v>
                </c:pt>
                <c:pt idx="2">
                  <c:v>21.6</c:v>
                </c:pt>
                <c:pt idx="3">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092.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4279.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68.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eauty Care</c:v>
                  </c:pt>
                  <c:pt idx="2">
                    <c:v>Total</c:v>
                  </c:pt>
                  <c:pt idx="3">
                    <c:v>Beauty Care</c:v>
                  </c:pt>
                </c:lvl>
                <c:lvl>
                  <c:pt idx="0">
                    <c:v>Sunscreen Adults</c:v>
                  </c:pt>
                  <c:pt idx="2">
                    <c:v>Sunscreen Kids</c:v>
                  </c:pt>
                </c:lvl>
                <c:lvl>
                  <c:pt idx="0">
                    <c:v>Sunscreen</c:v>
                  </c:pt>
                </c:lvl>
              </c:multiLvlStrCache>
            </c:multiLvlStrRef>
          </c:cat>
          <c:val>
            <c:numRef>
              <c:f>Sheet1!$E$2:$E$5</c:f>
              <c:numCache>
                <c:formatCode>General</c:formatCode>
                <c:ptCount val="4"/>
                <c:pt idx="0">
                  <c:v>2092.9344</c:v>
                </c:pt>
                <c:pt idx="1">
                  <c:v>4279.4598</c:v>
                </c:pt>
                <c:pt idx="2">
                  <c:v>1168.932</c:v>
                </c:pt>
                <c:pt idx="3">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eauty Care</c:v>
                  </c:pt>
                  <c:pt idx="2">
                    <c:v>Total</c:v>
                  </c:pt>
                  <c:pt idx="3">
                    <c:v>Beauty Care</c:v>
                  </c:pt>
                </c:lvl>
                <c:lvl>
                  <c:pt idx="0">
                    <c:v>Sunscreen Adults</c:v>
                  </c:pt>
                  <c:pt idx="2">
                    <c:v>Sunscreen Kids</c:v>
                  </c:pt>
                </c:lvl>
                <c:lvl>
                  <c:pt idx="0">
                    <c:v>Sunscreen</c:v>
                  </c:pt>
                </c:lvl>
              </c:multiLvlStrCache>
            </c:multiLvlStrRef>
          </c:cat>
          <c:val>
            <c:numRef>
              <c:f>Sheet1!$D$2:$D$5</c:f>
              <c:numCache>
                <c:formatCode>General</c:formatCode>
                <c:ptCount val="4"/>
                <c:pt idx="0">
                  <c:v>230.2</c:v>
                </c:pt>
                <c:pt idx="1">
                  <c:v>2.2</c:v>
                </c:pt>
                <c:pt idx="2">
                  <c:v>26.1</c:v>
                </c:pt>
                <c:pt idx="3">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26.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3103.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066.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eauty Care</c:v>
                  </c:pt>
                  <c:pt idx="2">
                    <c:v>Total</c:v>
                  </c:pt>
                  <c:pt idx="3">
                    <c:v>Beauty Care</c:v>
                  </c:pt>
                </c:lvl>
                <c:lvl>
                  <c:pt idx="0">
                    <c:v>Sunscreen Adults</c:v>
                  </c:pt>
                  <c:pt idx="2">
                    <c:v>Sunscreen Kids</c:v>
                  </c:pt>
                </c:lvl>
                <c:lvl>
                  <c:pt idx="0">
                    <c:v>Sunscreen</c:v>
                  </c:pt>
                </c:lvl>
              </c:multiLvlStrCache>
            </c:multiLvlStrRef>
          </c:cat>
          <c:val>
            <c:numRef>
              <c:f>Sheet1!$E$2:$E$5</c:f>
              <c:numCache>
                <c:formatCode>General</c:formatCode>
                <c:ptCount val="4"/>
                <c:pt idx="0">
                  <c:v>1426.1102</c:v>
                </c:pt>
                <c:pt idx="1">
                  <c:v>3103.4389</c:v>
                </c:pt>
                <c:pt idx="2">
                  <c:v>1066.3696</c:v>
                </c:pt>
                <c:pt idx="3">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eauty Care</c:v>
                  </c:pt>
                  <c:pt idx="2">
                    <c:v>Total</c:v>
                  </c:pt>
                  <c:pt idx="3">
                    <c:v>Beauty Care</c:v>
                  </c:pt>
                </c:lvl>
                <c:lvl>
                  <c:pt idx="0">
                    <c:v>Sunscreen Adults</c:v>
                  </c:pt>
                  <c:pt idx="2">
                    <c:v>Sunscreen Kids</c:v>
                  </c:pt>
                </c:lvl>
                <c:lvl>
                  <c:pt idx="0">
                    <c:v>Sunscreen</c:v>
                  </c:pt>
                </c:lvl>
              </c:multiLvlStrCache>
            </c:multiLvlStrRef>
          </c:cat>
          <c:val>
            <c:numRef>
              <c:f>Sheet1!$D$2:$D$5</c:f>
              <c:numCache>
                <c:formatCode>General</c:formatCode>
                <c:ptCount val="4"/>
                <c:pt idx="0">
                  <c:v>229.5</c:v>
                </c:pt>
                <c:pt idx="1">
                  <c:v>1.8</c:v>
                </c:pt>
                <c:pt idx="2">
                  <c:v>24.6</c:v>
                </c:pt>
                <c:pt idx="3">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50.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4233.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1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eauty Care</c:v>
                  </c:pt>
                  <c:pt idx="2">
                    <c:v>Total</c:v>
                  </c:pt>
                  <c:pt idx="3">
                    <c:v>Beauty Care</c:v>
                  </c:pt>
                </c:lvl>
                <c:lvl>
                  <c:pt idx="0">
                    <c:v>Sunscreen Adults</c:v>
                  </c:pt>
                  <c:pt idx="2">
                    <c:v>Sunscreen Kids</c:v>
                  </c:pt>
                </c:lvl>
                <c:lvl>
                  <c:pt idx="0">
                    <c:v>Sunscreen</c:v>
                  </c:pt>
                </c:lvl>
              </c:multiLvlStrCache>
            </c:multiLvlStrRef>
          </c:cat>
          <c:val>
            <c:numRef>
              <c:f>Sheet1!$E$2:$E$5</c:f>
              <c:numCache>
                <c:formatCode>General</c:formatCode>
                <c:ptCount val="4"/>
                <c:pt idx="0">
                  <c:v>1650.2656</c:v>
                </c:pt>
                <c:pt idx="1">
                  <c:v>4233.1399</c:v>
                </c:pt>
                <c:pt idx="2">
                  <c:v>1119.7041</c:v>
                </c:pt>
                <c:pt idx="3">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eauty Care</c:v>
                  </c:pt>
                  <c:pt idx="2">
                    <c:v>Total</c:v>
                  </c:pt>
                  <c:pt idx="3">
                    <c:v>Beauty Care</c:v>
                  </c:pt>
                </c:lvl>
                <c:lvl>
                  <c:pt idx="0">
                    <c:v>Sunscreen Adults</c:v>
                  </c:pt>
                  <c:pt idx="2">
                    <c:v>Sunscreen Kids</c:v>
                  </c:pt>
                </c:lvl>
                <c:lvl>
                  <c:pt idx="0">
                    <c:v>Sunscreen</c:v>
                  </c:pt>
                </c:lvl>
              </c:multiLvlStrCache>
            </c:multiLvlStrRef>
          </c:cat>
          <c:val>
            <c:numRef>
              <c:f>Sheet1!$D$2:$D$5</c:f>
              <c:numCache>
                <c:formatCode>General</c:formatCode>
                <c:ptCount val="4"/>
                <c:pt idx="0">
                  <c:v>219.5</c:v>
                </c:pt>
                <c:pt idx="1">
                  <c:v>2.0</c:v>
                </c:pt>
                <c:pt idx="2">
                  <c:v>23.2</c:v>
                </c:pt>
                <c:pt idx="3">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65.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4326.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45.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eauty Care</c:v>
                  </c:pt>
                  <c:pt idx="2">
                    <c:v>Total</c:v>
                  </c:pt>
                  <c:pt idx="3">
                    <c:v>Beauty Care</c:v>
                  </c:pt>
                </c:lvl>
                <c:lvl>
                  <c:pt idx="0">
                    <c:v>Sunscreen Adults</c:v>
                  </c:pt>
                  <c:pt idx="2">
                    <c:v>Sunscreen Kids</c:v>
                  </c:pt>
                </c:lvl>
                <c:lvl>
                  <c:pt idx="0">
                    <c:v>Sunscreen</c:v>
                  </c:pt>
                </c:lvl>
              </c:multiLvlStrCache>
            </c:multiLvlStrRef>
          </c:cat>
          <c:val>
            <c:numRef>
              <c:f>Sheet1!$E$2:$E$5</c:f>
              <c:numCache>
                <c:formatCode>General</c:formatCode>
                <c:ptCount val="4"/>
                <c:pt idx="0">
                  <c:v>1665.943</c:v>
                </c:pt>
                <c:pt idx="1">
                  <c:v>4326.949</c:v>
                </c:pt>
                <c:pt idx="2">
                  <c:v>1145.3687</c:v>
                </c:pt>
                <c:pt idx="3">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eauty Care</c:v>
                  </c:pt>
                  <c:pt idx="2">
                    <c:v>Total</c:v>
                  </c:pt>
                  <c:pt idx="3">
                    <c:v>Beauty Care</c:v>
                  </c:pt>
                </c:lvl>
                <c:lvl>
                  <c:pt idx="0">
                    <c:v>Sunscreen Adults</c:v>
                  </c:pt>
                  <c:pt idx="2">
                    <c:v>Sunscreen Kids</c:v>
                  </c:pt>
                </c:lvl>
                <c:lvl>
                  <c:pt idx="0">
                    <c:v>Sunscreen</c:v>
                  </c:pt>
                </c:lvl>
              </c:multiLvlStrCache>
            </c:multiLvlStrRef>
          </c:cat>
          <c:val>
            <c:numRef>
              <c:f>Sheet1!$D$2:$D$5</c:f>
              <c:numCache>
                <c:formatCode>General</c:formatCode>
                <c:ptCount val="4"/>
                <c:pt idx="0">
                  <c:v>162.9</c:v>
                </c:pt>
                <c:pt idx="1">
                  <c:v>1.5</c:v>
                </c:pt>
                <c:pt idx="2">
                  <c:v>16.5</c:v>
                </c:pt>
                <c:pt idx="3">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20.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4326.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211.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5</c:f>
              <c:multiLvlStrCache>
                <c:ptCount val="4"/>
                <c:lvl>
                  <c:pt idx="0">
                    <c:v>Total</c:v>
                  </c:pt>
                  <c:pt idx="1">
                    <c:v>Beauty Care</c:v>
                  </c:pt>
                  <c:pt idx="2">
                    <c:v>Total</c:v>
                  </c:pt>
                  <c:pt idx="3">
                    <c:v>Beauty Care</c:v>
                  </c:pt>
                </c:lvl>
                <c:lvl>
                  <c:pt idx="0">
                    <c:v>Sunscreen Adults</c:v>
                  </c:pt>
                  <c:pt idx="2">
                    <c:v>Sunscreen Kids</c:v>
                  </c:pt>
                </c:lvl>
                <c:lvl>
                  <c:pt idx="0">
                    <c:v>Sunscreen</c:v>
                  </c:pt>
                </c:lvl>
              </c:multiLvlStrCache>
            </c:multiLvlStrRef>
          </c:cat>
          <c:val>
            <c:numRef>
              <c:f>Sheet1!$E$2:$E$5</c:f>
              <c:numCache>
                <c:formatCode>General</c:formatCode>
                <c:ptCount val="4"/>
                <c:pt idx="0">
                  <c:v>1620.3788</c:v>
                </c:pt>
                <c:pt idx="1">
                  <c:v>4326.4348</c:v>
                </c:pt>
                <c:pt idx="2">
                  <c:v>1211.6323</c:v>
                </c:pt>
                <c:pt idx="3">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Edgewell</c:v>
                  </c:pt>
                  <c:pt idx="2">
                    <c:v>Total</c:v>
                  </c:pt>
                  <c:pt idx="3">
                    <c:v>Edgewell</c:v>
                  </c:pt>
                  <c:pt idx="4">
                    <c:v>Total</c:v>
                  </c:pt>
                  <c:pt idx="5">
                    <c:v>Edgewell</c:v>
                  </c:pt>
                  <c:pt idx="6">
                    <c:v>Total</c:v>
                  </c:pt>
                  <c:pt idx="7">
                    <c:v>Edgewell</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870.1</c:v>
                </c:pt>
                <c:pt idx="1">
                  <c:v>290.7</c:v>
                </c:pt>
                <c:pt idx="2">
                  <c:v>397.0</c:v>
                </c:pt>
                <c:pt idx="3">
                  <c:v>0.0</c:v>
                </c:pt>
                <c:pt idx="4">
                  <c:v>152.7</c:v>
                </c:pt>
                <c:pt idx="5">
                  <c:v>130.9</c:v>
                </c:pt>
                <c:pt idx="6">
                  <c:v>129.5</c:v>
                </c:pt>
                <c:pt idx="7">
                  <c:v>40.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11.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55.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735.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85.81</a:t>
                    </a:r>
                  </a:p>
                </c:rich>
              </c:tx>
              <c:dLblPos val="t"/>
              <c:showLegendKey val="0"/>
              <c:showVal val="1"/>
              <c:showCatName val="0"/>
              <c:showSerName val="0"/>
              <c:showPercent val="0"/>
              <c:showBubbleSize val="0"/>
            </c:dLbl>
            <c:dLbl>
              <c:idx val="5"/>
              <c:tx>
                <c:rich>
                  <a:bodyPr/>
                  <a:lstStyle/>
                  <a:p>
                    <a:r>
                      <a:t>1205.29</a:t>
                    </a:r>
                  </a:p>
                </c:rich>
              </c:tx>
              <c:dLblPos val="t"/>
              <c:showLegendKey val="0"/>
              <c:showVal val="1"/>
              <c:showCatName val="0"/>
              <c:showSerName val="0"/>
              <c:showPercent val="0"/>
              <c:showBubbleSize val="0"/>
            </c:dLbl>
            <c:dLbl>
              <c:idx val="6"/>
              <c:tx>
                <c:rich>
                  <a:bodyPr/>
                  <a:lstStyle/>
                  <a:p>
                    <a:r>
                      <a:t>1085.11</a:t>
                    </a:r>
                  </a:p>
                </c:rich>
              </c:tx>
              <c:dLblPos val="t"/>
              <c:showLegendKey val="0"/>
              <c:showVal val="1"/>
              <c:showCatName val="0"/>
              <c:showSerName val="0"/>
              <c:showPercent val="0"/>
              <c:showBubbleSize val="0"/>
            </c:dLbl>
            <c:dLbl>
              <c:idx val="7"/>
              <c:tx>
                <c:rich>
                  <a:bodyPr/>
                  <a:lstStyle/>
                  <a:p>
                    <a:r>
                      <a:t>1203.29</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Edgewell</c:v>
                  </c:pt>
                  <c:pt idx="2">
                    <c:v>Total</c:v>
                  </c:pt>
                  <c:pt idx="3">
                    <c:v>Edgewell</c:v>
                  </c:pt>
                  <c:pt idx="4">
                    <c:v>Total</c:v>
                  </c:pt>
                  <c:pt idx="5">
                    <c:v>Edgewell</c:v>
                  </c:pt>
                  <c:pt idx="6">
                    <c:v>Total</c:v>
                  </c:pt>
                  <c:pt idx="7">
                    <c:v>Edgewell</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411.8489</c:v>
                </c:pt>
                <c:pt idx="1">
                  <c:v>1255.7339</c:v>
                </c:pt>
                <c:pt idx="2">
                  <c:v>4735.4713</c:v>
                </c:pt>
                <c:pt idx="3">
                  <c:v>0.0</c:v>
                </c:pt>
                <c:pt idx="4">
                  <c:v>1085.8104</c:v>
                </c:pt>
                <c:pt idx="5">
                  <c:v>1205.2905</c:v>
                </c:pt>
                <c:pt idx="6">
                  <c:v>1085.1053</c:v>
                </c:pt>
                <c:pt idx="7">
                  <c:v>1203.28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Edgewell</c:v>
                  </c:pt>
                  <c:pt idx="2">
                    <c:v>Total</c:v>
                  </c:pt>
                  <c:pt idx="3">
                    <c:v>Edgewell</c:v>
                  </c:pt>
                  <c:pt idx="4">
                    <c:v>Total</c:v>
                  </c:pt>
                  <c:pt idx="5">
                    <c:v>Edgewell</c:v>
                  </c:pt>
                  <c:pt idx="6">
                    <c:v>Total</c:v>
                  </c:pt>
                  <c:pt idx="7">
                    <c:v>Edgewell</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88.6</c:v>
                </c:pt>
                <c:pt idx="1">
                  <c:v>64.1</c:v>
                </c:pt>
                <c:pt idx="2">
                  <c:v>90.8</c:v>
                </c:pt>
                <c:pt idx="3">
                  <c:v>0.0</c:v>
                </c:pt>
                <c:pt idx="4">
                  <c:v>29.6</c:v>
                </c:pt>
                <c:pt idx="5">
                  <c:v>25.1</c:v>
                </c:pt>
                <c:pt idx="6">
                  <c:v>25.7</c:v>
                </c:pt>
                <c:pt idx="7">
                  <c:v>7.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28.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41.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578.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68.23</a:t>
                    </a:r>
                  </a:p>
                </c:rich>
              </c:tx>
              <c:dLblPos val="t"/>
              <c:showLegendKey val="0"/>
              <c:showVal val="1"/>
              <c:showCatName val="0"/>
              <c:showSerName val="0"/>
              <c:showPercent val="0"/>
              <c:showBubbleSize val="0"/>
            </c:dLbl>
            <c:dLbl>
              <c:idx val="5"/>
              <c:tx>
                <c:rich>
                  <a:bodyPr/>
                  <a:lstStyle/>
                  <a:p>
                    <a:r>
                      <a:t>1211.18</a:t>
                    </a:r>
                  </a:p>
                </c:rich>
              </c:tx>
              <c:dLblPos val="t"/>
              <c:showLegendKey val="0"/>
              <c:showVal val="1"/>
              <c:showCatName val="0"/>
              <c:showSerName val="0"/>
              <c:showPercent val="0"/>
              <c:showBubbleSize val="0"/>
            </c:dLbl>
            <c:dLbl>
              <c:idx val="6"/>
              <c:tx>
                <c:rich>
                  <a:bodyPr/>
                  <a:lstStyle/>
                  <a:p>
                    <a:r>
                      <a:t>1070.34</a:t>
                    </a:r>
                  </a:p>
                </c:rich>
              </c:tx>
              <c:dLblPos val="t"/>
              <c:showLegendKey val="0"/>
              <c:showVal val="1"/>
              <c:showCatName val="0"/>
              <c:showSerName val="0"/>
              <c:showPercent val="0"/>
              <c:showBubbleSize val="0"/>
            </c:dLbl>
            <c:dLbl>
              <c:idx val="7"/>
              <c:tx>
                <c:rich>
                  <a:bodyPr/>
                  <a:lstStyle/>
                  <a:p>
                    <a:r>
                      <a:t>1195.68</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Edgewell</c:v>
                  </c:pt>
                  <c:pt idx="2">
                    <c:v>Total</c:v>
                  </c:pt>
                  <c:pt idx="3">
                    <c:v>Edgewell</c:v>
                  </c:pt>
                  <c:pt idx="4">
                    <c:v>Total</c:v>
                  </c:pt>
                  <c:pt idx="5">
                    <c:v>Edgewell</c:v>
                  </c:pt>
                  <c:pt idx="6">
                    <c:v>Total</c:v>
                  </c:pt>
                  <c:pt idx="7">
                    <c:v>Edgewell</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428.5276</c:v>
                </c:pt>
                <c:pt idx="1">
                  <c:v>1241.1783</c:v>
                </c:pt>
                <c:pt idx="2">
                  <c:v>4578.4648</c:v>
                </c:pt>
                <c:pt idx="3">
                  <c:v>0.0</c:v>
                </c:pt>
                <c:pt idx="4">
                  <c:v>1068.2305</c:v>
                </c:pt>
                <c:pt idx="5">
                  <c:v>1211.1841</c:v>
                </c:pt>
                <c:pt idx="6">
                  <c:v>1070.3367</c:v>
                </c:pt>
                <c:pt idx="7">
                  <c:v>1195.683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Pt>
            <c:idx val="4"/>
            <c:spPr>
              <a:solidFill>
                <a:srgbClr val="BCBBBB"/>
              </a:solidFill>
            </c:spPr>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1</c:f>
              <c:multiLvlStrCache>
                <c:ptCount val="10"/>
                <c:lvl>
                  <c:pt idx="0">
                    <c:v>Total</c:v>
                  </c:pt>
                  <c:pt idx="1">
                    <c:v>Edgewell</c:v>
                  </c:pt>
                  <c:pt idx="2">
                    <c:v>Total</c:v>
                  </c:pt>
                  <c:pt idx="3">
                    <c:v>Edgewell</c:v>
                  </c:pt>
                  <c:pt idx="4">
                    <c:v>Total</c:v>
                  </c:pt>
                  <c:pt idx="5">
                    <c:v>Edgewell</c:v>
                  </c:pt>
                  <c:pt idx="6">
                    <c:v>Total</c:v>
                  </c:pt>
                  <c:pt idx="7">
                    <c:v>Edgewell</c:v>
                  </c:pt>
                  <c:pt idx="8">
                    <c:v>Total</c:v>
                  </c:pt>
                  <c:pt idx="9">
                    <c:v>Edgewell</c:v>
                  </c:pt>
                </c:lvl>
                <c:lvl>
                  <c:pt idx="0">
                    <c:v>Sunscreen Cosmetics</c:v>
                  </c:pt>
                  <c:pt idx="2">
                    <c:v>Sunscreen Derma</c:v>
                  </c:pt>
                  <c:pt idx="4">
                    <c:v>Sunscreen Sport</c:v>
                  </c:pt>
                  <c:pt idx="6">
                    <c:v>Sunscreen Cosmetics</c:v>
                  </c:pt>
                  <c:pt idx="8">
                    <c:v>Sunscreen Derma</c:v>
                  </c:pt>
                </c:lvl>
                <c:lvl>
                  <c:pt idx="0">
                    <c:v>Sunscreen Adults</c:v>
                  </c:pt>
                  <c:pt idx="6">
                    <c:v>Sunscreen Kids</c:v>
                  </c:pt>
                </c:lvl>
              </c:multiLvlStrCache>
            </c:multiLvlStrRef>
          </c:cat>
          <c:val>
            <c:numRef>
              <c:f>Sheet1!$D$2:$D$11</c:f>
              <c:numCache>
                <c:formatCode>General</c:formatCode>
                <c:ptCount val="10"/>
                <c:pt idx="0">
                  <c:v>127.0</c:v>
                </c:pt>
                <c:pt idx="1">
                  <c:v>41.8</c:v>
                </c:pt>
                <c:pt idx="2">
                  <c:v>121.4</c:v>
                </c:pt>
                <c:pt idx="3">
                  <c:v>0.0</c:v>
                </c:pt>
                <c:pt idx="4">
                  <c:v>20.2</c:v>
                </c:pt>
                <c:pt idx="5">
                  <c:v>17.1</c:v>
                </c:pt>
                <c:pt idx="6">
                  <c:v>18.4</c:v>
                </c:pt>
                <c:pt idx="7">
                  <c:v>6.3</c:v>
                </c:pt>
                <c:pt idx="8">
                  <c:v>3.1</c:v>
                </c:pt>
                <c:pt idx="9">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54.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33.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5692.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24.2</a:t>
                    </a:r>
                  </a:p>
                </c:rich>
              </c:tx>
              <c:dLblPos val="t"/>
              <c:showLegendKey val="0"/>
              <c:showVal val="1"/>
              <c:showCatName val="0"/>
              <c:showSerName val="0"/>
              <c:showPercent val="0"/>
              <c:showBubbleSize val="0"/>
            </c:dLbl>
            <c:dLbl>
              <c:idx val="5"/>
              <c:tx>
                <c:rich>
                  <a:bodyPr/>
                  <a:lstStyle/>
                  <a:p>
                    <a:r>
                      <a:t>1136.48</a:t>
                    </a:r>
                  </a:p>
                </c:rich>
              </c:tx>
              <c:dLblPos val="t"/>
              <c:showLegendKey val="0"/>
              <c:showVal val="1"/>
              <c:showCatName val="0"/>
              <c:showSerName val="0"/>
              <c:showPercent val="0"/>
              <c:showBubbleSize val="0"/>
            </c:dLbl>
            <c:dLbl>
              <c:idx val="6"/>
              <c:tx>
                <c:rich>
                  <a:bodyPr/>
                  <a:lstStyle/>
                  <a:p>
                    <a:r>
                      <a:t>1069.69</a:t>
                    </a:r>
                  </a:p>
                </c:rich>
              </c:tx>
              <c:dLblPos val="t"/>
              <c:showLegendKey val="0"/>
              <c:showVal val="1"/>
              <c:showCatName val="0"/>
              <c:showSerName val="0"/>
              <c:showPercent val="0"/>
              <c:showBubbleSize val="0"/>
            </c:dLbl>
            <c:dLbl>
              <c:idx val="7"/>
              <c:tx>
                <c:rich>
                  <a:bodyPr/>
                  <a:lstStyle/>
                  <a:p>
                    <a:r>
                      <a:t>1176.64</a:t>
                    </a:r>
                  </a:p>
                </c:rich>
              </c:tx>
              <c:dLblPos val="t"/>
              <c:showLegendKey val="0"/>
              <c:showVal val="1"/>
              <c:showCatName val="0"/>
              <c:showSerName val="0"/>
              <c:showPercent val="0"/>
              <c:showBubbleSize val="0"/>
            </c:dLbl>
            <c:dLbl>
              <c:idx val="8"/>
              <c:tx>
                <c:rich>
                  <a:bodyPr/>
                  <a:lstStyle/>
                  <a:p>
                    <a:r>
                      <a:t>2598.38</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1</c:f>
              <c:multiLvlStrCache>
                <c:ptCount val="10"/>
                <c:lvl>
                  <c:pt idx="0">
                    <c:v>Total</c:v>
                  </c:pt>
                  <c:pt idx="1">
                    <c:v>Edgewell</c:v>
                  </c:pt>
                  <c:pt idx="2">
                    <c:v>Total</c:v>
                  </c:pt>
                  <c:pt idx="3">
                    <c:v>Edgewell</c:v>
                  </c:pt>
                  <c:pt idx="4">
                    <c:v>Total</c:v>
                  </c:pt>
                  <c:pt idx="5">
                    <c:v>Edgewell</c:v>
                  </c:pt>
                  <c:pt idx="6">
                    <c:v>Total</c:v>
                  </c:pt>
                  <c:pt idx="7">
                    <c:v>Edgewell</c:v>
                  </c:pt>
                  <c:pt idx="8">
                    <c:v>Total</c:v>
                  </c:pt>
                  <c:pt idx="9">
                    <c:v>Edgewell</c:v>
                  </c:pt>
                </c:lvl>
                <c:lvl>
                  <c:pt idx="0">
                    <c:v>Sunscreen Cosmetics</c:v>
                  </c:pt>
                  <c:pt idx="2">
                    <c:v>Sunscreen Derma</c:v>
                  </c:pt>
                  <c:pt idx="4">
                    <c:v>Sunscreen Sport</c:v>
                  </c:pt>
                  <c:pt idx="6">
                    <c:v>Sunscreen Cosmetics</c:v>
                  </c:pt>
                  <c:pt idx="8">
                    <c:v>Sunscreen Derma</c:v>
                  </c:pt>
                </c:lvl>
                <c:lvl>
                  <c:pt idx="0">
                    <c:v>Sunscreen Adults</c:v>
                  </c:pt>
                  <c:pt idx="6">
                    <c:v>Sunscreen Kids</c:v>
                  </c:pt>
                </c:lvl>
              </c:multiLvlStrCache>
            </c:multiLvlStrRef>
          </c:cat>
          <c:val>
            <c:numRef>
              <c:f>Sheet1!$E$2:$E$11</c:f>
              <c:numCache>
                <c:formatCode>General</c:formatCode>
                <c:ptCount val="10"/>
                <c:pt idx="0">
                  <c:v>1454.4892</c:v>
                </c:pt>
                <c:pt idx="1">
                  <c:v>1233.4286</c:v>
                </c:pt>
                <c:pt idx="2">
                  <c:v>5692.152</c:v>
                </c:pt>
                <c:pt idx="3">
                  <c:v>0.0</c:v>
                </c:pt>
                <c:pt idx="4">
                  <c:v>1024.1972</c:v>
                </c:pt>
                <c:pt idx="5">
                  <c:v>1136.4774</c:v>
                </c:pt>
                <c:pt idx="6">
                  <c:v>1069.6889</c:v>
                </c:pt>
                <c:pt idx="7">
                  <c:v>1176.6426</c:v>
                </c:pt>
                <c:pt idx="8">
                  <c:v>2598.381</c:v>
                </c:pt>
                <c:pt idx="9">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Edgewell</c:v>
                  </c:pt>
                  <c:pt idx="2">
                    <c:v>Total</c:v>
                  </c:pt>
                  <c:pt idx="3">
                    <c:v>Edgewell</c:v>
                  </c:pt>
                  <c:pt idx="4">
                    <c:v>Total</c:v>
                  </c:pt>
                  <c:pt idx="5">
                    <c:v>Edgewell</c:v>
                  </c:pt>
                  <c:pt idx="6">
                    <c:v>Total</c:v>
                  </c:pt>
                  <c:pt idx="7">
                    <c:v>Edgewell</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69.6</c:v>
                </c:pt>
                <c:pt idx="1">
                  <c:v>49.8</c:v>
                </c:pt>
                <c:pt idx="2">
                  <c:v>31.3</c:v>
                </c:pt>
                <c:pt idx="3">
                  <c:v>0.0</c:v>
                </c:pt>
                <c:pt idx="4">
                  <c:v>29.3</c:v>
                </c:pt>
                <c:pt idx="5">
                  <c:v>25.3</c:v>
                </c:pt>
                <c:pt idx="6">
                  <c:v>25.6</c:v>
                </c:pt>
                <c:pt idx="7">
                  <c:v>6.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62.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49.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3222.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76.37</a:t>
                    </a:r>
                  </a:p>
                </c:rich>
              </c:tx>
              <c:dLblPos val="t"/>
              <c:showLegendKey val="0"/>
              <c:showVal val="1"/>
              <c:showCatName val="0"/>
              <c:showSerName val="0"/>
              <c:showPercent val="0"/>
              <c:showBubbleSize val="0"/>
            </c:dLbl>
            <c:dLbl>
              <c:idx val="5"/>
              <c:tx>
                <c:rich>
                  <a:bodyPr/>
                  <a:lstStyle/>
                  <a:p>
                    <a:r>
                      <a:t>1162.75</a:t>
                    </a:r>
                  </a:p>
                </c:rich>
              </c:tx>
              <c:dLblPos val="t"/>
              <c:showLegendKey val="0"/>
              <c:showVal val="1"/>
              <c:showCatName val="0"/>
              <c:showSerName val="0"/>
              <c:showPercent val="0"/>
              <c:showBubbleSize val="0"/>
            </c:dLbl>
            <c:dLbl>
              <c:idx val="6"/>
              <c:tx>
                <c:rich>
                  <a:bodyPr/>
                  <a:lstStyle/>
                  <a:p>
                    <a:r>
                      <a:t>1058.4</a:t>
                    </a:r>
                  </a:p>
                </c:rich>
              </c:tx>
              <c:dLblPos val="t"/>
              <c:showLegendKey val="0"/>
              <c:showVal val="1"/>
              <c:showCatName val="0"/>
              <c:showSerName val="0"/>
              <c:showPercent val="0"/>
              <c:showBubbleSize val="0"/>
            </c:dLbl>
            <c:dLbl>
              <c:idx val="7"/>
              <c:tx>
                <c:rich>
                  <a:bodyPr/>
                  <a:lstStyle/>
                  <a:p>
                    <a:r>
                      <a:t>1103.03</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Edgewell</c:v>
                  </c:pt>
                  <c:pt idx="2">
                    <c:v>Total</c:v>
                  </c:pt>
                  <c:pt idx="3">
                    <c:v>Edgewell</c:v>
                  </c:pt>
                  <c:pt idx="4">
                    <c:v>Total</c:v>
                  </c:pt>
                  <c:pt idx="5">
                    <c:v>Edgewell</c:v>
                  </c:pt>
                  <c:pt idx="6">
                    <c:v>Total</c:v>
                  </c:pt>
                  <c:pt idx="7">
                    <c:v>Edgewell</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362.6137</c:v>
                </c:pt>
                <c:pt idx="1">
                  <c:v>1249.0242</c:v>
                </c:pt>
                <c:pt idx="2">
                  <c:v>3222.9216</c:v>
                </c:pt>
                <c:pt idx="3">
                  <c:v>0.0</c:v>
                </c:pt>
                <c:pt idx="4">
                  <c:v>1076.3668</c:v>
                </c:pt>
                <c:pt idx="5">
                  <c:v>1162.7503</c:v>
                </c:pt>
                <c:pt idx="6">
                  <c:v>1058.3979</c:v>
                </c:pt>
                <c:pt idx="7">
                  <c:v>1103.032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Edgewell</c:v>
                  </c:pt>
                  <c:pt idx="2">
                    <c:v>Total</c:v>
                  </c:pt>
                  <c:pt idx="3">
                    <c:v>Edgewell</c:v>
                  </c:pt>
                  <c:pt idx="4">
                    <c:v>Total</c:v>
                  </c:pt>
                  <c:pt idx="5">
                    <c:v>Edgewell</c:v>
                  </c:pt>
                  <c:pt idx="6">
                    <c:v>Total</c:v>
                  </c:pt>
                  <c:pt idx="7">
                    <c:v>Edgewell</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42.9</c:v>
                </c:pt>
                <c:pt idx="1">
                  <c:v>45.1</c:v>
                </c:pt>
                <c:pt idx="2">
                  <c:v>63.3</c:v>
                </c:pt>
                <c:pt idx="3">
                  <c:v>0.0</c:v>
                </c:pt>
                <c:pt idx="4">
                  <c:v>23.4</c:v>
                </c:pt>
                <c:pt idx="5">
                  <c:v>19.2</c:v>
                </c:pt>
                <c:pt idx="6">
                  <c:v>22.8</c:v>
                </c:pt>
                <c:pt idx="7">
                  <c:v>6.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1.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2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731.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49.5</a:t>
                    </a:r>
                  </a:p>
                </c:rich>
              </c:tx>
              <c:dLblPos val="t"/>
              <c:showLegendKey val="0"/>
              <c:showVal val="1"/>
              <c:showCatName val="0"/>
              <c:showSerName val="0"/>
              <c:showPercent val="0"/>
              <c:showBubbleSize val="0"/>
            </c:dLbl>
            <c:dLbl>
              <c:idx val="5"/>
              <c:tx>
                <c:rich>
                  <a:bodyPr/>
                  <a:lstStyle/>
                  <a:p>
                    <a:r>
                      <a:t>1187.23</a:t>
                    </a:r>
                  </a:p>
                </c:rich>
              </c:tx>
              <c:dLblPos val="t"/>
              <c:showLegendKey val="0"/>
              <c:showVal val="1"/>
              <c:showCatName val="0"/>
              <c:showSerName val="0"/>
              <c:showPercent val="0"/>
              <c:showBubbleSize val="0"/>
            </c:dLbl>
            <c:dLbl>
              <c:idx val="6"/>
              <c:tx>
                <c:rich>
                  <a:bodyPr/>
                  <a:lstStyle/>
                  <a:p>
                    <a:r>
                      <a:t>1071.02</a:t>
                    </a:r>
                  </a:p>
                </c:rich>
              </c:tx>
              <c:dLblPos val="t"/>
              <c:showLegendKey val="0"/>
              <c:showVal val="1"/>
              <c:showCatName val="0"/>
              <c:showSerName val="0"/>
              <c:showPercent val="0"/>
              <c:showBubbleSize val="0"/>
            </c:dLbl>
            <c:dLbl>
              <c:idx val="7"/>
              <c:tx>
                <c:rich>
                  <a:bodyPr/>
                  <a:lstStyle/>
                  <a:p>
                    <a:r>
                      <a:t>1184.35</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Edgewell</c:v>
                  </c:pt>
                  <c:pt idx="2">
                    <c:v>Total</c:v>
                  </c:pt>
                  <c:pt idx="3">
                    <c:v>Edgewell</c:v>
                  </c:pt>
                  <c:pt idx="4">
                    <c:v>Total</c:v>
                  </c:pt>
                  <c:pt idx="5">
                    <c:v>Edgewell</c:v>
                  </c:pt>
                  <c:pt idx="6">
                    <c:v>Total</c:v>
                  </c:pt>
                  <c:pt idx="7">
                    <c:v>Edgewell</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381.2603</c:v>
                </c:pt>
                <c:pt idx="1">
                  <c:v>1227.4981</c:v>
                </c:pt>
                <c:pt idx="2">
                  <c:v>4731.589</c:v>
                </c:pt>
                <c:pt idx="3">
                  <c:v>0.0</c:v>
                </c:pt>
                <c:pt idx="4">
                  <c:v>1049.4967</c:v>
                </c:pt>
                <c:pt idx="5">
                  <c:v>1187.2288</c:v>
                </c:pt>
                <c:pt idx="6">
                  <c:v>1071.0232</c:v>
                </c:pt>
                <c:pt idx="7">
                  <c:v>1184.347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BB6D4341-19A4-4211-9A7E-51C9FD6CCE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447517A5-F4E1-47EC-9128-306A217007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CBB88780-9825-4232-A0B1-F8734BF96C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AC5B013F-5AA9-4D9D-B06D-BF6FFEAD65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0CE7BB4B-08B5-453A-8AF0-276BD7FF62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CBDA3E39-118E-4AED-8C5E-A59E8345B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697860A9-4B00-4AAA-868A-9F869D1684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5C77D272-15AC-4DC7-8C70-D0FBD66525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06.0708</c:v>
                </c:pt>
                <c:pt idx="1">
                  <c:v>268.9765</c:v>
                </c:pt>
                <c:pt idx="2">
                  <c:v>459.3015</c:v>
                </c:pt>
                <c:pt idx="3">
                  <c:v>476.9653</c:v>
                </c:pt>
                <c:pt idx="4">
                  <c:v>184.4208</c:v>
                </c:pt>
                <c:pt idx="5">
                  <c:v>336.3607</c:v>
                </c:pt>
              </c:numCache>
            </c:numRef>
          </c:xVal>
          <c:yVal>
            <c:numRef>
              <c:f>Sheet1!$B$2:$B$7</c:f>
              <c:numCache>
                <c:formatCode>General</c:formatCode>
                <c:ptCount val="6"/>
                <c:pt idx="0">
                  <c:v>3.089</c:v>
                </c:pt>
                <c:pt idx="1">
                  <c:v>0.673</c:v>
                </c:pt>
                <c:pt idx="2">
                  <c:v>2.243</c:v>
                </c:pt>
                <c:pt idx="3">
                  <c:v>6.548</c:v>
                </c:pt>
                <c:pt idx="4">
                  <c:v>0.37</c:v>
                </c:pt>
                <c:pt idx="5">
                  <c:v>5.226</c:v>
                </c:pt>
              </c:numCache>
            </c:numRef>
          </c:yVal>
          <c:bubbleSize>
            <c:numRef>
              <c:f>Sheet1!$C$2:$C$7</c:f>
              <c:numCache>
                <c:formatCode>General</c:formatCode>
                <c:ptCount val="6"/>
                <c:pt idx="0">
                  <c:v>2911564</c:v>
                </c:pt>
                <c:pt idx="1">
                  <c:v>1397064</c:v>
                </c:pt>
                <c:pt idx="2">
                  <c:v>953510</c:v>
                </c:pt>
                <c:pt idx="3">
                  <c:v>741204</c:v>
                </c:pt>
                <c:pt idx="4">
                  <c:v>316835</c:v>
                </c:pt>
                <c:pt idx="5">
                  <c:v>22939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7.0"/>
          <c:min val="148.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Edgewell</c:v>
                  </c:pt>
                  <c:pt idx="2">
                    <c:v>Total</c:v>
                  </c:pt>
                  <c:pt idx="3">
                    <c:v>Edgewell</c:v>
                  </c:pt>
                  <c:pt idx="4">
                    <c:v>Total</c:v>
                  </c:pt>
                  <c:pt idx="5">
                    <c:v>Edgewell</c:v>
                  </c:pt>
                  <c:pt idx="6">
                    <c:v>Total</c:v>
                  </c:pt>
                  <c:pt idx="7">
                    <c:v>Edgewell</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30.9</c:v>
                </c:pt>
                <c:pt idx="1">
                  <c:v>51.9</c:v>
                </c:pt>
                <c:pt idx="2">
                  <c:v>60.2</c:v>
                </c:pt>
                <c:pt idx="3">
                  <c:v>0.0</c:v>
                </c:pt>
                <c:pt idx="4">
                  <c:v>28.3</c:v>
                </c:pt>
                <c:pt idx="5">
                  <c:v>24.6</c:v>
                </c:pt>
                <c:pt idx="6">
                  <c:v>21.4</c:v>
                </c:pt>
                <c:pt idx="7">
                  <c:v>8.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9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85.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830.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24.43</a:t>
                    </a:r>
                  </a:p>
                </c:rich>
              </c:tx>
              <c:dLblPos val="t"/>
              <c:showLegendKey val="0"/>
              <c:showVal val="1"/>
              <c:showCatName val="0"/>
              <c:showSerName val="0"/>
              <c:showPercent val="0"/>
              <c:showBubbleSize val="0"/>
            </c:dLbl>
            <c:dLbl>
              <c:idx val="5"/>
              <c:tx>
                <c:rich>
                  <a:bodyPr/>
                  <a:lstStyle/>
                  <a:p>
                    <a:r>
                      <a:t>1255.03</a:t>
                    </a:r>
                  </a:p>
                </c:rich>
              </c:tx>
              <c:dLblPos val="t"/>
              <c:showLegendKey val="0"/>
              <c:showVal val="1"/>
              <c:showCatName val="0"/>
              <c:showSerName val="0"/>
              <c:showPercent val="0"/>
              <c:showBubbleSize val="0"/>
            </c:dLbl>
            <c:dLbl>
              <c:idx val="6"/>
              <c:tx>
                <c:rich>
                  <a:bodyPr/>
                  <a:lstStyle/>
                  <a:p>
                    <a:r>
                      <a:t>1093.51</a:t>
                    </a:r>
                  </a:p>
                </c:rich>
              </c:tx>
              <c:dLblPos val="t"/>
              <c:showLegendKey val="0"/>
              <c:showVal val="1"/>
              <c:showCatName val="0"/>
              <c:showSerName val="0"/>
              <c:showPercent val="0"/>
              <c:showBubbleSize val="0"/>
            </c:dLbl>
            <c:dLbl>
              <c:idx val="7"/>
              <c:tx>
                <c:rich>
                  <a:bodyPr/>
                  <a:lstStyle/>
                  <a:p>
                    <a:r>
                      <a:t>1284.7</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Edgewell</c:v>
                  </c:pt>
                  <c:pt idx="2">
                    <c:v>Total</c:v>
                  </c:pt>
                  <c:pt idx="3">
                    <c:v>Edgewell</c:v>
                  </c:pt>
                  <c:pt idx="4">
                    <c:v>Total</c:v>
                  </c:pt>
                  <c:pt idx="5">
                    <c:v>Edgewell</c:v>
                  </c:pt>
                  <c:pt idx="6">
                    <c:v>Total</c:v>
                  </c:pt>
                  <c:pt idx="7">
                    <c:v>Edgewell</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391.7444</c:v>
                </c:pt>
                <c:pt idx="1">
                  <c:v>1285.3858</c:v>
                </c:pt>
                <c:pt idx="2">
                  <c:v>4830.9533</c:v>
                </c:pt>
                <c:pt idx="3">
                  <c:v>0.0</c:v>
                </c:pt>
                <c:pt idx="4">
                  <c:v>1124.4307</c:v>
                </c:pt>
                <c:pt idx="5">
                  <c:v>1255.0266</c:v>
                </c:pt>
                <c:pt idx="6">
                  <c:v>1093.5085</c:v>
                </c:pt>
                <c:pt idx="7">
                  <c:v>1284.700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Edgewell</c:v>
                  </c:pt>
                  <c:pt idx="2">
                    <c:v>Total</c:v>
                  </c:pt>
                  <c:pt idx="3">
                    <c:v>Edgewell</c:v>
                  </c:pt>
                  <c:pt idx="4">
                    <c:v>Total</c:v>
                  </c:pt>
                  <c:pt idx="5">
                    <c:v>Edgewell</c:v>
                  </c:pt>
                  <c:pt idx="6">
                    <c:v>Total</c:v>
                  </c:pt>
                  <c:pt idx="7">
                    <c:v>Edgewell</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11.1</c:v>
                </c:pt>
                <c:pt idx="1">
                  <c:v>37.8</c:v>
                </c:pt>
                <c:pt idx="2">
                  <c:v>30.0</c:v>
                </c:pt>
                <c:pt idx="3">
                  <c:v>0.0</c:v>
                </c:pt>
                <c:pt idx="4">
                  <c:v>21.8</c:v>
                </c:pt>
                <c:pt idx="5">
                  <c:v>19.6</c:v>
                </c:pt>
                <c:pt idx="6">
                  <c:v>15.6</c:v>
                </c:pt>
                <c:pt idx="7">
                  <c:v>5.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8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311.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208.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82.9</a:t>
                    </a:r>
                  </a:p>
                </c:rich>
              </c:tx>
              <c:dLblPos val="t"/>
              <c:showLegendKey val="0"/>
              <c:showVal val="1"/>
              <c:showCatName val="0"/>
              <c:showSerName val="0"/>
              <c:showPercent val="0"/>
              <c:showBubbleSize val="0"/>
            </c:dLbl>
            <c:dLbl>
              <c:idx val="5"/>
              <c:tx>
                <c:rich>
                  <a:bodyPr/>
                  <a:lstStyle/>
                  <a:p>
                    <a:r>
                      <a:t>1280.49</a:t>
                    </a:r>
                  </a:p>
                </c:rich>
              </c:tx>
              <c:dLblPos val="t"/>
              <c:showLegendKey val="0"/>
              <c:showVal val="1"/>
              <c:showCatName val="0"/>
              <c:showSerName val="0"/>
              <c:showPercent val="0"/>
              <c:showBubbleSize val="0"/>
            </c:dLbl>
            <c:dLbl>
              <c:idx val="6"/>
              <c:tx>
                <c:rich>
                  <a:bodyPr/>
                  <a:lstStyle/>
                  <a:p>
                    <a:r>
                      <a:t>1192.12</a:t>
                    </a:r>
                  </a:p>
                </c:rich>
              </c:tx>
              <c:dLblPos val="t"/>
              <c:showLegendKey val="0"/>
              <c:showVal val="1"/>
              <c:showCatName val="0"/>
              <c:showSerName val="0"/>
              <c:showPercent val="0"/>
              <c:showBubbleSize val="0"/>
            </c:dLbl>
            <c:dLbl>
              <c:idx val="7"/>
              <c:tx>
                <c:rich>
                  <a:bodyPr/>
                  <a:lstStyle/>
                  <a:p>
                    <a:r>
                      <a:t>1296.75</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Edgewell</c:v>
                  </c:pt>
                  <c:pt idx="2">
                    <c:v>Total</c:v>
                  </c:pt>
                  <c:pt idx="3">
                    <c:v>Edgewell</c:v>
                  </c:pt>
                  <c:pt idx="4">
                    <c:v>Total</c:v>
                  </c:pt>
                  <c:pt idx="5">
                    <c:v>Edgewell</c:v>
                  </c:pt>
                  <c:pt idx="6">
                    <c:v>Total</c:v>
                  </c:pt>
                  <c:pt idx="7">
                    <c:v>Edgewell</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482.0165</c:v>
                </c:pt>
                <c:pt idx="1">
                  <c:v>1311.7308</c:v>
                </c:pt>
                <c:pt idx="2">
                  <c:v>4208.5922</c:v>
                </c:pt>
                <c:pt idx="3">
                  <c:v>0.0</c:v>
                </c:pt>
                <c:pt idx="4">
                  <c:v>1182.8998</c:v>
                </c:pt>
                <c:pt idx="5">
                  <c:v>1280.4899</c:v>
                </c:pt>
                <c:pt idx="6">
                  <c:v>1192.1181</c:v>
                </c:pt>
                <c:pt idx="7">
                  <c:v>1296.747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870.1</c:v>
                </c:pt>
                <c:pt idx="1">
                  <c:v>194.6</c:v>
                </c:pt>
                <c:pt idx="2">
                  <c:v>397.0</c:v>
                </c:pt>
                <c:pt idx="3">
                  <c:v>0.0</c:v>
                </c:pt>
                <c:pt idx="4">
                  <c:v>152.7</c:v>
                </c:pt>
                <c:pt idx="5">
                  <c:v>51.0</c:v>
                </c:pt>
                <c:pt idx="6">
                  <c:v>129.5</c:v>
                </c:pt>
                <c:pt idx="7">
                  <c:v>0.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11.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26.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735.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85.81</a:t>
                    </a:r>
                  </a:p>
                </c:rich>
              </c:tx>
              <c:dLblPos val="t"/>
              <c:showLegendKey val="0"/>
              <c:showVal val="1"/>
              <c:showCatName val="0"/>
              <c:showSerName val="0"/>
              <c:showPercent val="0"/>
              <c:showBubbleSize val="0"/>
            </c:dLbl>
            <c:dLbl>
              <c:idx val="5"/>
              <c:tx>
                <c:rich>
                  <a:bodyPr/>
                  <a:lstStyle/>
                  <a:p>
                    <a:r>
                      <a:t>1169.39</a:t>
                    </a:r>
                  </a:p>
                </c:rich>
              </c:tx>
              <c:dLblPos val="t"/>
              <c:showLegendKey val="0"/>
              <c:showVal val="1"/>
              <c:showCatName val="0"/>
              <c:showSerName val="0"/>
              <c:showPercent val="0"/>
              <c:showBubbleSize val="0"/>
            </c:dLbl>
            <c:dLbl>
              <c:idx val="6"/>
              <c:tx>
                <c:rich>
                  <a:bodyPr/>
                  <a:lstStyle/>
                  <a:p>
                    <a:r>
                      <a:t>1085.11</a:t>
                    </a:r>
                  </a:p>
                </c:rich>
              </c:tx>
              <c:dLblPos val="t"/>
              <c:showLegendKey val="0"/>
              <c:showVal val="1"/>
              <c:showCatName val="0"/>
              <c:showSerName val="0"/>
              <c:showPercent val="0"/>
              <c:showBubbleSize val="0"/>
            </c:dLbl>
            <c:dLbl>
              <c:idx val="7"/>
              <c:tx>
                <c:rich>
                  <a:bodyPr/>
                  <a:lstStyle/>
                  <a:p>
                    <a:r>
                      <a:t>589.35</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411.8489</c:v>
                </c:pt>
                <c:pt idx="1">
                  <c:v>1226.3263</c:v>
                </c:pt>
                <c:pt idx="2">
                  <c:v>4735.4713</c:v>
                </c:pt>
                <c:pt idx="3">
                  <c:v>0.0</c:v>
                </c:pt>
                <c:pt idx="4">
                  <c:v>1085.8104</c:v>
                </c:pt>
                <c:pt idx="5">
                  <c:v>1169.3857</c:v>
                </c:pt>
                <c:pt idx="6">
                  <c:v>1085.1053</c:v>
                </c:pt>
                <c:pt idx="7">
                  <c:v>589.352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88.6</c:v>
                </c:pt>
                <c:pt idx="1">
                  <c:v>42.4</c:v>
                </c:pt>
                <c:pt idx="2">
                  <c:v>90.8</c:v>
                </c:pt>
                <c:pt idx="3">
                  <c:v>0.0</c:v>
                </c:pt>
                <c:pt idx="4">
                  <c:v>29.6</c:v>
                </c:pt>
                <c:pt idx="5">
                  <c:v>11.6</c:v>
                </c:pt>
                <c:pt idx="6">
                  <c:v>25.7</c:v>
                </c:pt>
                <c:pt idx="7">
                  <c:v>0.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28.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27.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578.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68.23</a:t>
                    </a:r>
                  </a:p>
                </c:rich>
              </c:tx>
              <c:dLblPos val="t"/>
              <c:showLegendKey val="0"/>
              <c:showVal val="1"/>
              <c:showCatName val="0"/>
              <c:showSerName val="0"/>
              <c:showPercent val="0"/>
              <c:showBubbleSize val="0"/>
            </c:dLbl>
            <c:dLbl>
              <c:idx val="5"/>
              <c:tx>
                <c:rich>
                  <a:bodyPr/>
                  <a:lstStyle/>
                  <a:p>
                    <a:r>
                      <a:t>1197.38</a:t>
                    </a:r>
                  </a:p>
                </c:rich>
              </c:tx>
              <c:dLblPos val="t"/>
              <c:showLegendKey val="0"/>
              <c:showVal val="1"/>
              <c:showCatName val="0"/>
              <c:showSerName val="0"/>
              <c:showPercent val="0"/>
              <c:showBubbleSize val="0"/>
            </c:dLbl>
            <c:dLbl>
              <c:idx val="6"/>
              <c:tx>
                <c:rich>
                  <a:bodyPr/>
                  <a:lstStyle/>
                  <a:p>
                    <a:r>
                      <a:t>1070.34</a:t>
                    </a:r>
                  </a:p>
                </c:rich>
              </c:tx>
              <c:dLblPos val="t"/>
              <c:showLegendKey val="0"/>
              <c:showVal val="1"/>
              <c:showCatName val="0"/>
              <c:showSerName val="0"/>
              <c:showPercent val="0"/>
              <c:showBubbleSize val="0"/>
            </c:dLbl>
            <c:dLbl>
              <c:idx val="7"/>
              <c:tx>
                <c:rich>
                  <a:bodyPr/>
                  <a:lstStyle/>
                  <a:p>
                    <a:r>
                      <a:t>584.1</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428.5276</c:v>
                </c:pt>
                <c:pt idx="1">
                  <c:v>1227.7265</c:v>
                </c:pt>
                <c:pt idx="2">
                  <c:v>4578.4648</c:v>
                </c:pt>
                <c:pt idx="3">
                  <c:v>0.0</c:v>
                </c:pt>
                <c:pt idx="4">
                  <c:v>1068.2305</c:v>
                </c:pt>
                <c:pt idx="5">
                  <c:v>1197.3814</c:v>
                </c:pt>
                <c:pt idx="6">
                  <c:v>1070.3367</c:v>
                </c:pt>
                <c:pt idx="7">
                  <c:v>584.098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Pt>
            <c:idx val="4"/>
            <c:spPr>
              <a:solidFill>
                <a:srgbClr val="BCBBBB"/>
              </a:solidFill>
            </c:spPr>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osmetics</c:v>
                  </c:pt>
                  <c:pt idx="2">
                    <c:v>Sunscreen Derma</c:v>
                  </c:pt>
                  <c:pt idx="4">
                    <c:v>Sunscreen Sport</c:v>
                  </c:pt>
                  <c:pt idx="6">
                    <c:v>Sunscreen Cosmetics</c:v>
                  </c:pt>
                  <c:pt idx="8">
                    <c:v>Sunscreen Derma</c:v>
                  </c:pt>
                </c:lvl>
                <c:lvl>
                  <c:pt idx="0">
                    <c:v>Sunscreen Adults</c:v>
                  </c:pt>
                  <c:pt idx="6">
                    <c:v>Sunscreen Kids</c:v>
                  </c:pt>
                </c:lvl>
              </c:multiLvlStrCache>
            </c:multiLvlStrRef>
          </c:cat>
          <c:val>
            <c:numRef>
              <c:f>Sheet1!$D$2:$D$11</c:f>
              <c:numCache>
                <c:formatCode>General</c:formatCode>
                <c:ptCount val="10"/>
                <c:pt idx="0">
                  <c:v>127.0</c:v>
                </c:pt>
                <c:pt idx="1">
                  <c:v>26.0</c:v>
                </c:pt>
                <c:pt idx="2">
                  <c:v>121.4</c:v>
                </c:pt>
                <c:pt idx="3">
                  <c:v>0.0</c:v>
                </c:pt>
                <c:pt idx="4">
                  <c:v>20.2</c:v>
                </c:pt>
                <c:pt idx="5">
                  <c:v>6.2</c:v>
                </c:pt>
                <c:pt idx="6">
                  <c:v>18.4</c:v>
                </c:pt>
                <c:pt idx="7">
                  <c:v>0.0</c:v>
                </c:pt>
                <c:pt idx="8">
                  <c:v>3.1</c:v>
                </c:pt>
                <c:pt idx="9">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54.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90.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5692.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24.2</a:t>
                    </a:r>
                  </a:p>
                </c:rich>
              </c:tx>
              <c:dLblPos val="t"/>
              <c:showLegendKey val="0"/>
              <c:showVal val="1"/>
              <c:showCatName val="0"/>
              <c:showSerName val="0"/>
              <c:showPercent val="0"/>
              <c:showBubbleSize val="0"/>
            </c:dLbl>
            <c:dLbl>
              <c:idx val="5"/>
              <c:tx>
                <c:rich>
                  <a:bodyPr/>
                  <a:lstStyle/>
                  <a:p>
                    <a:r>
                      <a:t>1128.29</a:t>
                    </a:r>
                  </a:p>
                </c:rich>
              </c:tx>
              <c:dLblPos val="t"/>
              <c:showLegendKey val="0"/>
              <c:showVal val="1"/>
              <c:showCatName val="0"/>
              <c:showSerName val="0"/>
              <c:showPercent val="0"/>
              <c:showBubbleSize val="0"/>
            </c:dLbl>
            <c:dLbl>
              <c:idx val="6"/>
              <c:tx>
                <c:rich>
                  <a:bodyPr/>
                  <a:lstStyle/>
                  <a:p>
                    <a:r>
                      <a:t>1069.69</a:t>
                    </a:r>
                  </a:p>
                </c:rich>
              </c:tx>
              <c:dLblPos val="t"/>
              <c:showLegendKey val="0"/>
              <c:showVal val="1"/>
              <c:showCatName val="0"/>
              <c:showSerName val="0"/>
              <c:showPercent val="0"/>
              <c:showBubbleSize val="0"/>
            </c:dLbl>
            <c:dLbl>
              <c:idx val="7"/>
              <c:tx>
                <c:rich>
                  <a:bodyPr/>
                  <a:lstStyle/>
                  <a:p>
                    <a:r>
                      <a:t>720.62</a:t>
                    </a:r>
                  </a:p>
                </c:rich>
              </c:tx>
              <c:dLblPos val="t"/>
              <c:showLegendKey val="0"/>
              <c:showVal val="1"/>
              <c:showCatName val="0"/>
              <c:showSerName val="0"/>
              <c:showPercent val="0"/>
              <c:showBubbleSize val="0"/>
            </c:dLbl>
            <c:dLbl>
              <c:idx val="8"/>
              <c:tx>
                <c:rich>
                  <a:bodyPr/>
                  <a:lstStyle/>
                  <a:p>
                    <a:r>
                      <a:t>2598.38</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osmetics</c:v>
                  </c:pt>
                  <c:pt idx="2">
                    <c:v>Sunscreen Derma</c:v>
                  </c:pt>
                  <c:pt idx="4">
                    <c:v>Sunscreen Sport</c:v>
                  </c:pt>
                  <c:pt idx="6">
                    <c:v>Sunscreen Cosmetics</c:v>
                  </c:pt>
                  <c:pt idx="8">
                    <c:v>Sunscreen Derma</c:v>
                  </c:pt>
                </c:lvl>
                <c:lvl>
                  <c:pt idx="0">
                    <c:v>Sunscreen Adults</c:v>
                  </c:pt>
                  <c:pt idx="6">
                    <c:v>Sunscreen Kids</c:v>
                  </c:pt>
                </c:lvl>
              </c:multiLvlStrCache>
            </c:multiLvlStrRef>
          </c:cat>
          <c:val>
            <c:numRef>
              <c:f>Sheet1!$E$2:$E$11</c:f>
              <c:numCache>
                <c:formatCode>General</c:formatCode>
                <c:ptCount val="10"/>
                <c:pt idx="0">
                  <c:v>1454.4892</c:v>
                </c:pt>
                <c:pt idx="1">
                  <c:v>1190.6584</c:v>
                </c:pt>
                <c:pt idx="2">
                  <c:v>5692.152</c:v>
                </c:pt>
                <c:pt idx="3">
                  <c:v>0.0</c:v>
                </c:pt>
                <c:pt idx="4">
                  <c:v>1024.1972</c:v>
                </c:pt>
                <c:pt idx="5">
                  <c:v>1128.2922</c:v>
                </c:pt>
                <c:pt idx="6">
                  <c:v>1069.6889</c:v>
                </c:pt>
                <c:pt idx="7">
                  <c:v>720.619</c:v>
                </c:pt>
                <c:pt idx="8">
                  <c:v>2598.381</c:v>
                </c:pt>
                <c:pt idx="9">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69.6</c:v>
                </c:pt>
                <c:pt idx="1">
                  <c:v>35.4</c:v>
                </c:pt>
                <c:pt idx="2">
                  <c:v>31.3</c:v>
                </c:pt>
                <c:pt idx="3">
                  <c:v>0.0</c:v>
                </c:pt>
                <c:pt idx="4">
                  <c:v>29.3</c:v>
                </c:pt>
                <c:pt idx="5">
                  <c:v>10.4</c:v>
                </c:pt>
                <c:pt idx="6">
                  <c:v>25.6</c:v>
                </c:pt>
                <c:pt idx="7">
                  <c:v>0.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62.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97.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3222.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76.37</a:t>
                    </a:r>
                  </a:p>
                </c:rich>
              </c:tx>
              <c:dLblPos val="t"/>
              <c:showLegendKey val="0"/>
              <c:showVal val="1"/>
              <c:showCatName val="0"/>
              <c:showSerName val="0"/>
              <c:showPercent val="0"/>
              <c:showBubbleSize val="0"/>
            </c:dLbl>
            <c:dLbl>
              <c:idx val="5"/>
              <c:tx>
                <c:rich>
                  <a:bodyPr/>
                  <a:lstStyle/>
                  <a:p>
                    <a:r>
                      <a:t>1123.03</a:t>
                    </a:r>
                  </a:p>
                </c:rich>
              </c:tx>
              <c:dLblPos val="t"/>
              <c:showLegendKey val="0"/>
              <c:showVal val="1"/>
              <c:showCatName val="0"/>
              <c:showSerName val="0"/>
              <c:showPercent val="0"/>
              <c:showBubbleSize val="0"/>
            </c:dLbl>
            <c:dLbl>
              <c:idx val="6"/>
              <c:tx>
                <c:rich>
                  <a:bodyPr/>
                  <a:lstStyle/>
                  <a:p>
                    <a:r>
                      <a:t>1058.4</a:t>
                    </a:r>
                  </a:p>
                </c:rich>
              </c:tx>
              <c:dLblPos val="t"/>
              <c:showLegendKey val="0"/>
              <c:showVal val="1"/>
              <c:showCatName val="0"/>
              <c:showSerName val="0"/>
              <c:showPercent val="0"/>
              <c:showBubbleSize val="0"/>
            </c:dLbl>
            <c:dLbl>
              <c:idx val="7"/>
              <c:tx>
                <c:rich>
                  <a:bodyPr/>
                  <a:lstStyle/>
                  <a:p>
                    <a:r>
                      <a:t>547.92</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362.6137</c:v>
                </c:pt>
                <c:pt idx="1">
                  <c:v>1197.4895</c:v>
                </c:pt>
                <c:pt idx="2">
                  <c:v>3222.9216</c:v>
                </c:pt>
                <c:pt idx="3">
                  <c:v>0.0</c:v>
                </c:pt>
                <c:pt idx="4">
                  <c:v>1076.3668</c:v>
                </c:pt>
                <c:pt idx="5">
                  <c:v>1123.0324</c:v>
                </c:pt>
                <c:pt idx="6">
                  <c:v>1058.3979</c:v>
                </c:pt>
                <c:pt idx="7">
                  <c:v>547.917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42.9</c:v>
                </c:pt>
                <c:pt idx="1">
                  <c:v>30.8</c:v>
                </c:pt>
                <c:pt idx="2">
                  <c:v>63.3</c:v>
                </c:pt>
                <c:pt idx="3">
                  <c:v>0.0</c:v>
                </c:pt>
                <c:pt idx="4">
                  <c:v>23.4</c:v>
                </c:pt>
                <c:pt idx="5">
                  <c:v>7.7</c:v>
                </c:pt>
                <c:pt idx="6">
                  <c:v>22.8</c:v>
                </c:pt>
                <c:pt idx="7">
                  <c:v>0.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1.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10.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731.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49.5</a:t>
                    </a:r>
                  </a:p>
                </c:rich>
              </c:tx>
              <c:dLblPos val="t"/>
              <c:showLegendKey val="0"/>
              <c:showVal val="1"/>
              <c:showCatName val="0"/>
              <c:showSerName val="0"/>
              <c:showPercent val="0"/>
              <c:showBubbleSize val="0"/>
            </c:dLbl>
            <c:dLbl>
              <c:idx val="5"/>
              <c:tx>
                <c:rich>
                  <a:bodyPr/>
                  <a:lstStyle/>
                  <a:p>
                    <a:r>
                      <a:t>1167.11</a:t>
                    </a:r>
                  </a:p>
                </c:rich>
              </c:tx>
              <c:dLblPos val="t"/>
              <c:showLegendKey val="0"/>
              <c:showVal val="1"/>
              <c:showCatName val="0"/>
              <c:showSerName val="0"/>
              <c:showPercent val="0"/>
              <c:showBubbleSize val="0"/>
            </c:dLbl>
            <c:dLbl>
              <c:idx val="6"/>
              <c:tx>
                <c:rich>
                  <a:bodyPr/>
                  <a:lstStyle/>
                  <a:p>
                    <a:r>
                      <a:t>1071.02</a:t>
                    </a:r>
                  </a:p>
                </c:rich>
              </c:tx>
              <c:dLblPos val="t"/>
              <c:showLegendKey val="0"/>
              <c:showVal val="1"/>
              <c:showCatName val="0"/>
              <c:showSerName val="0"/>
              <c:showPercent val="0"/>
              <c:showBubbleSize val="0"/>
            </c:dLbl>
            <c:dLbl>
              <c:idx val="7"/>
              <c:tx>
                <c:rich>
                  <a:bodyPr/>
                  <a:lstStyle/>
                  <a:p>
                    <a:r>
                      <a:t>594.51</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381.2603</c:v>
                </c:pt>
                <c:pt idx="1">
                  <c:v>1210.8379</c:v>
                </c:pt>
                <c:pt idx="2">
                  <c:v>4731.589</c:v>
                </c:pt>
                <c:pt idx="3">
                  <c:v>0.0</c:v>
                </c:pt>
                <c:pt idx="4">
                  <c:v>1049.4967</c:v>
                </c:pt>
                <c:pt idx="5">
                  <c:v>1167.1128</c:v>
                </c:pt>
                <c:pt idx="6">
                  <c:v>1071.0232</c:v>
                </c:pt>
                <c:pt idx="7">
                  <c:v>594.513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30.9</c:v>
                </c:pt>
                <c:pt idx="1">
                  <c:v>34.5</c:v>
                </c:pt>
                <c:pt idx="2">
                  <c:v>60.2</c:v>
                </c:pt>
                <c:pt idx="3">
                  <c:v>0.0</c:v>
                </c:pt>
                <c:pt idx="4">
                  <c:v>28.3</c:v>
                </c:pt>
                <c:pt idx="5">
                  <c:v>9.0</c:v>
                </c:pt>
                <c:pt idx="6">
                  <c:v>21.4</c:v>
                </c:pt>
                <c:pt idx="7">
                  <c:v>0.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9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64.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830.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24.43</a:t>
                    </a:r>
                  </a:p>
                </c:rich>
              </c:tx>
              <c:dLblPos val="t"/>
              <c:showLegendKey val="0"/>
              <c:showVal val="1"/>
              <c:showCatName val="0"/>
              <c:showSerName val="0"/>
              <c:showPercent val="0"/>
              <c:showBubbleSize val="0"/>
            </c:dLbl>
            <c:dLbl>
              <c:idx val="5"/>
              <c:tx>
                <c:rich>
                  <a:bodyPr/>
                  <a:lstStyle/>
                  <a:p>
                    <a:r>
                      <a:t>1197.46</a:t>
                    </a:r>
                  </a:p>
                </c:rich>
              </c:tx>
              <c:dLblPos val="t"/>
              <c:showLegendKey val="0"/>
              <c:showVal val="1"/>
              <c:showCatName val="0"/>
              <c:showSerName val="0"/>
              <c:showPercent val="0"/>
              <c:showBubbleSize val="0"/>
            </c:dLbl>
            <c:dLbl>
              <c:idx val="6"/>
              <c:tx>
                <c:rich>
                  <a:bodyPr/>
                  <a:lstStyle/>
                  <a:p>
                    <a:r>
                      <a:t>1093.51</a:t>
                    </a:r>
                  </a:p>
                </c:rich>
              </c:tx>
              <c:dLblPos val="t"/>
              <c:showLegendKey val="0"/>
              <c:showVal val="1"/>
              <c:showCatName val="0"/>
              <c:showSerName val="0"/>
              <c:showPercent val="0"/>
              <c:showBubbleSize val="0"/>
            </c:dLbl>
            <c:dLbl>
              <c:idx val="7"/>
              <c:tx>
                <c:rich>
                  <a:bodyPr/>
                  <a:lstStyle/>
                  <a:p>
                    <a:r>
                      <a:t>645.62</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391.7444</c:v>
                </c:pt>
                <c:pt idx="1">
                  <c:v>1264.5722</c:v>
                </c:pt>
                <c:pt idx="2">
                  <c:v>4830.9533</c:v>
                </c:pt>
                <c:pt idx="3">
                  <c:v>0.0</c:v>
                </c:pt>
                <c:pt idx="4">
                  <c:v>1124.4307</c:v>
                </c:pt>
                <c:pt idx="5">
                  <c:v>1197.4555</c:v>
                </c:pt>
                <c:pt idx="6">
                  <c:v>1093.5085</c:v>
                </c:pt>
                <c:pt idx="7">
                  <c:v>645.62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11.1</c:v>
                </c:pt>
                <c:pt idx="1">
                  <c:v>25.5</c:v>
                </c:pt>
                <c:pt idx="2">
                  <c:v>30.0</c:v>
                </c:pt>
                <c:pt idx="3">
                  <c:v>0.0</c:v>
                </c:pt>
                <c:pt idx="4">
                  <c:v>21.8</c:v>
                </c:pt>
                <c:pt idx="5">
                  <c:v>6.1</c:v>
                </c:pt>
                <c:pt idx="6">
                  <c:v>15.6</c:v>
                </c:pt>
                <c:pt idx="7">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8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72.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208.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82.9</a:t>
                    </a:r>
                  </a:p>
                </c:rich>
              </c:tx>
              <c:dLblPos val="t"/>
              <c:showLegendKey val="0"/>
              <c:showVal val="1"/>
              <c:showCatName val="0"/>
              <c:showSerName val="0"/>
              <c:showPercent val="0"/>
              <c:showBubbleSize val="0"/>
            </c:dLbl>
            <c:dLbl>
              <c:idx val="5"/>
              <c:tx>
                <c:rich>
                  <a:bodyPr/>
                  <a:lstStyle/>
                  <a:p>
                    <a:r>
                      <a:t>1206.64</a:t>
                    </a:r>
                  </a:p>
                </c:rich>
              </c:tx>
              <c:dLblPos val="t"/>
              <c:showLegendKey val="0"/>
              <c:showVal val="1"/>
              <c:showCatName val="0"/>
              <c:showSerName val="0"/>
              <c:showPercent val="0"/>
              <c:showBubbleSize val="0"/>
            </c:dLbl>
            <c:dLbl>
              <c:idx val="6"/>
              <c:tx>
                <c:rich>
                  <a:bodyPr/>
                  <a:lstStyle/>
                  <a:p>
                    <a:r>
                      <a:t>1192.12</a:t>
                    </a:r>
                  </a:p>
                </c:rich>
              </c:tx>
              <c:dLblPos val="t"/>
              <c:showLegendKey val="0"/>
              <c:showVal val="1"/>
              <c:showCatName val="0"/>
              <c:showSerName val="0"/>
              <c:showPercent val="0"/>
              <c:showBubbleSize val="0"/>
            </c:dLbl>
            <c:dLbl>
              <c:idx val="7"/>
              <c:tx>
                <c:rich>
                  <a:bodyPr/>
                  <a:lstStyle/>
                  <a:p>
                    <a:r>
                      <a:t>533.25</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482.0165</c:v>
                </c:pt>
                <c:pt idx="1">
                  <c:v>1272.9343</c:v>
                </c:pt>
                <c:pt idx="2">
                  <c:v>4208.5922</c:v>
                </c:pt>
                <c:pt idx="3">
                  <c:v>0.0</c:v>
                </c:pt>
                <c:pt idx="4">
                  <c:v>1182.8998</c:v>
                </c:pt>
                <c:pt idx="5">
                  <c:v>1206.636</c:v>
                </c:pt>
                <c:pt idx="6">
                  <c:v>1192.1181</c:v>
                </c:pt>
                <c:pt idx="7">
                  <c:v>533.25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870.1</c:v>
                </c:pt>
                <c:pt idx="1">
                  <c:v>83.6</c:v>
                </c:pt>
                <c:pt idx="2">
                  <c:v>397.0</c:v>
                </c:pt>
                <c:pt idx="3">
                  <c:v>0.0</c:v>
                </c:pt>
                <c:pt idx="4">
                  <c:v>152.7</c:v>
                </c:pt>
                <c:pt idx="5">
                  <c:v>79.9</c:v>
                </c:pt>
                <c:pt idx="6">
                  <c:v>129.5</c:v>
                </c:pt>
                <c:pt idx="7">
                  <c:v>40.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11.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99.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735.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85.81</a:t>
                    </a:r>
                  </a:p>
                </c:rich>
              </c:tx>
              <c:dLblPos val="t"/>
              <c:showLegendKey val="0"/>
              <c:showVal val="1"/>
              <c:showCatName val="0"/>
              <c:showSerName val="0"/>
              <c:showPercent val="0"/>
              <c:showBubbleSize val="0"/>
            </c:dLbl>
            <c:dLbl>
              <c:idx val="5"/>
              <c:tx>
                <c:rich>
                  <a:bodyPr/>
                  <a:lstStyle/>
                  <a:p>
                    <a:r>
                      <a:t>1229.41</a:t>
                    </a:r>
                  </a:p>
                </c:rich>
              </c:tx>
              <c:dLblPos val="t"/>
              <c:showLegendKey val="0"/>
              <c:showVal val="1"/>
              <c:showCatName val="0"/>
              <c:showSerName val="0"/>
              <c:showPercent val="0"/>
              <c:showBubbleSize val="0"/>
            </c:dLbl>
            <c:dLbl>
              <c:idx val="6"/>
              <c:tx>
                <c:rich>
                  <a:bodyPr/>
                  <a:lstStyle/>
                  <a:p>
                    <a:r>
                      <a:t>1085.11</a:t>
                    </a:r>
                  </a:p>
                </c:rich>
              </c:tx>
              <c:dLblPos val="t"/>
              <c:showLegendKey val="0"/>
              <c:showVal val="1"/>
              <c:showCatName val="0"/>
              <c:showSerName val="0"/>
              <c:showPercent val="0"/>
              <c:showBubbleSize val="0"/>
            </c:dLbl>
            <c:dLbl>
              <c:idx val="7"/>
              <c:tx>
                <c:rich>
                  <a:bodyPr/>
                  <a:lstStyle/>
                  <a:p>
                    <a:r>
                      <a:t>1218.68</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411.8489</c:v>
                </c:pt>
                <c:pt idx="1">
                  <c:v>1199.6699</c:v>
                </c:pt>
                <c:pt idx="2">
                  <c:v>4735.4713</c:v>
                </c:pt>
                <c:pt idx="3">
                  <c:v>0.0</c:v>
                </c:pt>
                <c:pt idx="4">
                  <c:v>1085.8104</c:v>
                </c:pt>
                <c:pt idx="5">
                  <c:v>1229.4118</c:v>
                </c:pt>
                <c:pt idx="6">
                  <c:v>1085.1053</c:v>
                </c:pt>
                <c:pt idx="7">
                  <c:v>1218.68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8FD48043-780A-467B-AE2C-3C9CB963B3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83A93AD0-A93C-4483-BD9B-82282EA8B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FBA66548-0FA5-4E01-99A1-192E659C2A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58E033EE-96D2-4505-B823-5D21CE9FAF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2B297ADD-15DA-4B6F-A737-2EE4A04C6B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328B4BA7-953F-4610-B28D-0A091FFBED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90CB817D-7EE1-4250-991B-FC10C9FD76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FB0284DB-3C1A-4C6C-9FE9-83ED1B1B48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53.3346</c:v>
                </c:pt>
                <c:pt idx="1">
                  <c:v>240.1936</c:v>
                </c:pt>
                <c:pt idx="2">
                  <c:v>76.3673</c:v>
                </c:pt>
                <c:pt idx="3">
                  <c:v>74.2019</c:v>
                </c:pt>
                <c:pt idx="4">
                  <c:v>688.1282</c:v>
                </c:pt>
                <c:pt idx="5">
                  <c:v>577.5587</c:v>
                </c:pt>
                <c:pt idx="6">
                  <c:v>135.7533</c:v>
                </c:pt>
              </c:numCache>
            </c:numRef>
          </c:xVal>
          <c:yVal>
            <c:numRef>
              <c:f>Sheet1!$B$2:$B$8</c:f>
              <c:numCache>
                <c:formatCode>General</c:formatCode>
                <c:ptCount val="7"/>
                <c:pt idx="0">
                  <c:v>1.283</c:v>
                </c:pt>
                <c:pt idx="1">
                  <c:v>1.079</c:v>
                </c:pt>
                <c:pt idx="2">
                  <c:v>0.521</c:v>
                </c:pt>
                <c:pt idx="3">
                  <c:v>0.549</c:v>
                </c:pt>
                <c:pt idx="4">
                  <c:v>4.076</c:v>
                </c:pt>
                <c:pt idx="5">
                  <c:v>2.615</c:v>
                </c:pt>
                <c:pt idx="6">
                  <c:v>0.522</c:v>
                </c:pt>
              </c:numCache>
            </c:numRef>
          </c:yVal>
          <c:bubbleSize>
            <c:numRef>
              <c:f>Sheet1!$C$2:$C$8</c:f>
              <c:numCache>
                <c:formatCode>General</c:formatCode>
                <c:ptCount val="7"/>
                <c:pt idx="0">
                  <c:v>61277586</c:v>
                </c:pt>
                <c:pt idx="1">
                  <c:v>40429874</c:v>
                </c:pt>
                <c:pt idx="2">
                  <c:v>13143504</c:v>
                </c:pt>
                <c:pt idx="3">
                  <c:v>5378671</c:v>
                </c:pt>
                <c:pt idx="4">
                  <c:v>2039612</c:v>
                </c:pt>
                <c:pt idx="5">
                  <c:v>1819310</c:v>
                </c:pt>
                <c:pt idx="6">
                  <c:v>49034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6.0"/>
          <c:min val="59.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88.6</c:v>
                </c:pt>
                <c:pt idx="1">
                  <c:v>18.6</c:v>
                </c:pt>
                <c:pt idx="2">
                  <c:v>90.8</c:v>
                </c:pt>
                <c:pt idx="3">
                  <c:v>0.0</c:v>
                </c:pt>
                <c:pt idx="4">
                  <c:v>29.6</c:v>
                </c:pt>
                <c:pt idx="5">
                  <c:v>13.5</c:v>
                </c:pt>
                <c:pt idx="6">
                  <c:v>25.7</c:v>
                </c:pt>
                <c:pt idx="7">
                  <c:v>7.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28.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38.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578.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68.23</a:t>
                    </a:r>
                  </a:p>
                </c:rich>
              </c:tx>
              <c:dLblPos val="t"/>
              <c:showLegendKey val="0"/>
              <c:showVal val="1"/>
              <c:showCatName val="0"/>
              <c:showSerName val="0"/>
              <c:showPercent val="0"/>
              <c:showBubbleSize val="0"/>
            </c:dLbl>
            <c:dLbl>
              <c:idx val="5"/>
              <c:tx>
                <c:rich>
                  <a:bodyPr/>
                  <a:lstStyle/>
                  <a:p>
                    <a:r>
                      <a:t>1223.35</a:t>
                    </a:r>
                  </a:p>
                </c:rich>
              </c:tx>
              <c:dLblPos val="t"/>
              <c:showLegendKey val="0"/>
              <c:showVal val="1"/>
              <c:showCatName val="0"/>
              <c:showSerName val="0"/>
              <c:showPercent val="0"/>
              <c:showBubbleSize val="0"/>
            </c:dLbl>
            <c:dLbl>
              <c:idx val="6"/>
              <c:tx>
                <c:rich>
                  <a:bodyPr/>
                  <a:lstStyle/>
                  <a:p>
                    <a:r>
                      <a:t>1070.34</a:t>
                    </a:r>
                  </a:p>
                </c:rich>
              </c:tx>
              <c:dLblPos val="t"/>
              <c:showLegendKey val="0"/>
              <c:showVal val="1"/>
              <c:showCatName val="0"/>
              <c:showSerName val="0"/>
              <c:showPercent val="0"/>
              <c:showBubbleSize val="0"/>
            </c:dLbl>
            <c:dLbl>
              <c:idx val="7"/>
              <c:tx>
                <c:rich>
                  <a:bodyPr/>
                  <a:lstStyle/>
                  <a:p>
                    <a:r>
                      <a:t>1222.9</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428.5276</c:v>
                </c:pt>
                <c:pt idx="1">
                  <c:v>1138.0438</c:v>
                </c:pt>
                <c:pt idx="2">
                  <c:v>4578.4648</c:v>
                </c:pt>
                <c:pt idx="3">
                  <c:v>0.0</c:v>
                </c:pt>
                <c:pt idx="4">
                  <c:v>1068.2305</c:v>
                </c:pt>
                <c:pt idx="5">
                  <c:v>1223.3518</c:v>
                </c:pt>
                <c:pt idx="6">
                  <c:v>1070.3367</c:v>
                </c:pt>
                <c:pt idx="7">
                  <c:v>1222.9034</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Pt>
            <c:idx val="4"/>
            <c:spPr>
              <a:solidFill>
                <a:srgbClr val="BCBBBB"/>
              </a:solidFill>
            </c:spPr>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osmetics</c:v>
                  </c:pt>
                  <c:pt idx="2">
                    <c:v>Sunscreen Derma</c:v>
                  </c:pt>
                  <c:pt idx="4">
                    <c:v>Sunscreen Sport</c:v>
                  </c:pt>
                  <c:pt idx="6">
                    <c:v>Sunscreen Cosmetics</c:v>
                  </c:pt>
                  <c:pt idx="8">
                    <c:v>Sunscreen Derma</c:v>
                  </c:pt>
                </c:lvl>
                <c:lvl>
                  <c:pt idx="0">
                    <c:v>Sunscreen Adults</c:v>
                  </c:pt>
                  <c:pt idx="6">
                    <c:v>Sunscreen Kids</c:v>
                  </c:pt>
                </c:lvl>
              </c:multiLvlStrCache>
            </c:multiLvlStrRef>
          </c:cat>
          <c:val>
            <c:numRef>
              <c:f>Sheet1!$D$2:$D$11</c:f>
              <c:numCache>
                <c:formatCode>General</c:formatCode>
                <c:ptCount val="10"/>
                <c:pt idx="0">
                  <c:v>127.0</c:v>
                </c:pt>
                <c:pt idx="1">
                  <c:v>13.9</c:v>
                </c:pt>
                <c:pt idx="2">
                  <c:v>121.4</c:v>
                </c:pt>
                <c:pt idx="3">
                  <c:v>0.0</c:v>
                </c:pt>
                <c:pt idx="4">
                  <c:v>20.2</c:v>
                </c:pt>
                <c:pt idx="5">
                  <c:v>10.9</c:v>
                </c:pt>
                <c:pt idx="6">
                  <c:v>18.4</c:v>
                </c:pt>
                <c:pt idx="7">
                  <c:v>6.3</c:v>
                </c:pt>
                <c:pt idx="8">
                  <c:v>3.1</c:v>
                </c:pt>
                <c:pt idx="9">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54.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96.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5692.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24.2</a:t>
                    </a:r>
                  </a:p>
                </c:rich>
              </c:tx>
              <c:dLblPos val="t"/>
              <c:showLegendKey val="0"/>
              <c:showVal val="1"/>
              <c:showCatName val="0"/>
              <c:showSerName val="0"/>
              <c:showPercent val="0"/>
              <c:showBubbleSize val="0"/>
            </c:dLbl>
            <c:dLbl>
              <c:idx val="5"/>
              <c:tx>
                <c:rich>
                  <a:bodyPr/>
                  <a:lstStyle/>
                  <a:p>
                    <a:r>
                      <a:t>1141.2</a:t>
                    </a:r>
                  </a:p>
                </c:rich>
              </c:tx>
              <c:dLblPos val="t"/>
              <c:showLegendKey val="0"/>
              <c:showVal val="1"/>
              <c:showCatName val="0"/>
              <c:showSerName val="0"/>
              <c:showPercent val="0"/>
              <c:showBubbleSize val="0"/>
            </c:dLbl>
            <c:dLbl>
              <c:idx val="6"/>
              <c:tx>
                <c:rich>
                  <a:bodyPr/>
                  <a:lstStyle/>
                  <a:p>
                    <a:r>
                      <a:t>1069.69</a:t>
                    </a:r>
                  </a:p>
                </c:rich>
              </c:tx>
              <c:dLblPos val="t"/>
              <c:showLegendKey val="0"/>
              <c:showVal val="1"/>
              <c:showCatName val="0"/>
              <c:showSerName val="0"/>
              <c:showPercent val="0"/>
              <c:showBubbleSize val="0"/>
            </c:dLbl>
            <c:dLbl>
              <c:idx val="7"/>
              <c:tx>
                <c:rich>
                  <a:bodyPr/>
                  <a:lstStyle/>
                  <a:p>
                    <a:r>
                      <a:t>1180.25</a:t>
                    </a:r>
                  </a:p>
                </c:rich>
              </c:tx>
              <c:dLblPos val="t"/>
              <c:showLegendKey val="0"/>
              <c:showVal val="1"/>
              <c:showCatName val="0"/>
              <c:showSerName val="0"/>
              <c:showPercent val="0"/>
              <c:showBubbleSize val="0"/>
            </c:dLbl>
            <c:dLbl>
              <c:idx val="8"/>
              <c:tx>
                <c:rich>
                  <a:bodyPr/>
                  <a:lstStyle/>
                  <a:p>
                    <a:r>
                      <a:t>2598.38</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osmetics</c:v>
                  </c:pt>
                  <c:pt idx="2">
                    <c:v>Sunscreen Derma</c:v>
                  </c:pt>
                  <c:pt idx="4">
                    <c:v>Sunscreen Sport</c:v>
                  </c:pt>
                  <c:pt idx="6">
                    <c:v>Sunscreen Cosmetics</c:v>
                  </c:pt>
                  <c:pt idx="8">
                    <c:v>Sunscreen Derma</c:v>
                  </c:pt>
                </c:lvl>
                <c:lvl>
                  <c:pt idx="0">
                    <c:v>Sunscreen Adults</c:v>
                  </c:pt>
                  <c:pt idx="6">
                    <c:v>Sunscreen Kids</c:v>
                  </c:pt>
                </c:lvl>
              </c:multiLvlStrCache>
            </c:multiLvlStrRef>
          </c:cat>
          <c:val>
            <c:numRef>
              <c:f>Sheet1!$E$2:$E$11</c:f>
              <c:numCache>
                <c:formatCode>General</c:formatCode>
                <c:ptCount val="10"/>
                <c:pt idx="0">
                  <c:v>1454.4892</c:v>
                </c:pt>
                <c:pt idx="1">
                  <c:v>1196.3683</c:v>
                </c:pt>
                <c:pt idx="2">
                  <c:v>5692.152</c:v>
                </c:pt>
                <c:pt idx="3">
                  <c:v>0.0</c:v>
                </c:pt>
                <c:pt idx="4">
                  <c:v>1024.1972</c:v>
                </c:pt>
                <c:pt idx="5">
                  <c:v>1141.2</c:v>
                </c:pt>
                <c:pt idx="6">
                  <c:v>1069.6889</c:v>
                </c:pt>
                <c:pt idx="7">
                  <c:v>1180.2495</c:v>
                </c:pt>
                <c:pt idx="8">
                  <c:v>2598.381</c:v>
                </c:pt>
                <c:pt idx="9">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69.6</c:v>
                </c:pt>
                <c:pt idx="1">
                  <c:v>12.2</c:v>
                </c:pt>
                <c:pt idx="2">
                  <c:v>31.3</c:v>
                </c:pt>
                <c:pt idx="3">
                  <c:v>0.0</c:v>
                </c:pt>
                <c:pt idx="4">
                  <c:v>29.3</c:v>
                </c:pt>
                <c:pt idx="5">
                  <c:v>14.8</c:v>
                </c:pt>
                <c:pt idx="6">
                  <c:v>25.6</c:v>
                </c:pt>
                <c:pt idx="7">
                  <c:v>6.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62.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68.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3222.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76.37</a:t>
                    </a:r>
                  </a:p>
                </c:rich>
              </c:tx>
              <c:dLblPos val="t"/>
              <c:showLegendKey val="0"/>
              <c:showVal val="1"/>
              <c:showCatName val="0"/>
              <c:showSerName val="0"/>
              <c:showPercent val="0"/>
              <c:showBubbleSize val="0"/>
            </c:dLbl>
            <c:dLbl>
              <c:idx val="5"/>
              <c:tx>
                <c:rich>
                  <a:bodyPr/>
                  <a:lstStyle/>
                  <a:p>
                    <a:r>
                      <a:t>1192.4</a:t>
                    </a:r>
                  </a:p>
                </c:rich>
              </c:tx>
              <c:dLblPos val="t"/>
              <c:showLegendKey val="0"/>
              <c:showVal val="1"/>
              <c:showCatName val="0"/>
              <c:showSerName val="0"/>
              <c:showPercent val="0"/>
              <c:showBubbleSize val="0"/>
            </c:dLbl>
            <c:dLbl>
              <c:idx val="6"/>
              <c:tx>
                <c:rich>
                  <a:bodyPr/>
                  <a:lstStyle/>
                  <a:p>
                    <a:r>
                      <a:t>1058.4</a:t>
                    </a:r>
                  </a:p>
                </c:rich>
              </c:tx>
              <c:dLblPos val="t"/>
              <c:showLegendKey val="0"/>
              <c:showVal val="1"/>
              <c:showCatName val="0"/>
              <c:showSerName val="0"/>
              <c:showPercent val="0"/>
              <c:showBubbleSize val="0"/>
            </c:dLbl>
            <c:dLbl>
              <c:idx val="7"/>
              <c:tx>
                <c:rich>
                  <a:bodyPr/>
                  <a:lstStyle/>
                  <a:p>
                    <a:r>
                      <a:t>1115.49</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362.6137</c:v>
                </c:pt>
                <c:pt idx="1">
                  <c:v>1268.373</c:v>
                </c:pt>
                <c:pt idx="2">
                  <c:v>3222.9216</c:v>
                </c:pt>
                <c:pt idx="3">
                  <c:v>0.0</c:v>
                </c:pt>
                <c:pt idx="4">
                  <c:v>1076.3668</c:v>
                </c:pt>
                <c:pt idx="5">
                  <c:v>1192.3958</c:v>
                </c:pt>
                <c:pt idx="6">
                  <c:v>1058.3979</c:v>
                </c:pt>
                <c:pt idx="7">
                  <c:v>1115.4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42.9</c:v>
                </c:pt>
                <c:pt idx="1">
                  <c:v>12.5</c:v>
                </c:pt>
                <c:pt idx="2">
                  <c:v>63.3</c:v>
                </c:pt>
                <c:pt idx="3">
                  <c:v>0.0</c:v>
                </c:pt>
                <c:pt idx="4">
                  <c:v>23.4</c:v>
                </c:pt>
                <c:pt idx="5">
                  <c:v>11.5</c:v>
                </c:pt>
                <c:pt idx="6">
                  <c:v>22.8</c:v>
                </c:pt>
                <c:pt idx="7">
                  <c:v>6.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1.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46.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731.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49.5</a:t>
                    </a:r>
                  </a:p>
                </c:rich>
              </c:tx>
              <c:dLblPos val="t"/>
              <c:showLegendKey val="0"/>
              <c:showVal val="1"/>
              <c:showCatName val="0"/>
              <c:showSerName val="0"/>
              <c:showPercent val="0"/>
              <c:showBubbleSize val="0"/>
            </c:dLbl>
            <c:dLbl>
              <c:idx val="5"/>
              <c:tx>
                <c:rich>
                  <a:bodyPr/>
                  <a:lstStyle/>
                  <a:p>
                    <a:r>
                      <a:t>1201.04</a:t>
                    </a:r>
                  </a:p>
                </c:rich>
              </c:tx>
              <c:dLblPos val="t"/>
              <c:showLegendKey val="0"/>
              <c:showVal val="1"/>
              <c:showCatName val="0"/>
              <c:showSerName val="0"/>
              <c:showPercent val="0"/>
              <c:showBubbleSize val="0"/>
            </c:dLbl>
            <c:dLbl>
              <c:idx val="6"/>
              <c:tx>
                <c:rich>
                  <a:bodyPr/>
                  <a:lstStyle/>
                  <a:p>
                    <a:r>
                      <a:t>1071.02</a:t>
                    </a:r>
                  </a:p>
                </c:rich>
              </c:tx>
              <c:dLblPos val="t"/>
              <c:showLegendKey val="0"/>
              <c:showVal val="1"/>
              <c:showCatName val="0"/>
              <c:showSerName val="0"/>
              <c:showPercent val="0"/>
              <c:showBubbleSize val="0"/>
            </c:dLbl>
            <c:dLbl>
              <c:idx val="7"/>
              <c:tx>
                <c:rich>
                  <a:bodyPr/>
                  <a:lstStyle/>
                  <a:p>
                    <a:r>
                      <a:t>1207.69</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381.2603</c:v>
                </c:pt>
                <c:pt idx="1">
                  <c:v>1146.1889</c:v>
                </c:pt>
                <c:pt idx="2">
                  <c:v>4731.589</c:v>
                </c:pt>
                <c:pt idx="3">
                  <c:v>0.0</c:v>
                </c:pt>
                <c:pt idx="4">
                  <c:v>1049.4967</c:v>
                </c:pt>
                <c:pt idx="5">
                  <c:v>1201.0353</c:v>
                </c:pt>
                <c:pt idx="6">
                  <c:v>1071.0232</c:v>
                </c:pt>
                <c:pt idx="7">
                  <c:v>1207.694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30.9</c:v>
                </c:pt>
                <c:pt idx="1">
                  <c:v>15.5</c:v>
                </c:pt>
                <c:pt idx="2">
                  <c:v>60.2</c:v>
                </c:pt>
                <c:pt idx="3">
                  <c:v>0.0</c:v>
                </c:pt>
                <c:pt idx="4">
                  <c:v>28.3</c:v>
                </c:pt>
                <c:pt idx="5">
                  <c:v>15.6</c:v>
                </c:pt>
                <c:pt idx="6">
                  <c:v>21.4</c:v>
                </c:pt>
                <c:pt idx="7">
                  <c:v>7.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9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21.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830.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24.43</a:t>
                    </a:r>
                  </a:p>
                </c:rich>
              </c:tx>
              <c:dLblPos val="t"/>
              <c:showLegendKey val="0"/>
              <c:showVal val="1"/>
              <c:showCatName val="0"/>
              <c:showSerName val="0"/>
              <c:showPercent val="0"/>
              <c:showBubbleSize val="0"/>
            </c:dLbl>
            <c:dLbl>
              <c:idx val="5"/>
              <c:tx>
                <c:rich>
                  <a:bodyPr/>
                  <a:lstStyle/>
                  <a:p>
                    <a:r>
                      <a:t>1290.61</a:t>
                    </a:r>
                  </a:p>
                </c:rich>
              </c:tx>
              <c:dLblPos val="t"/>
              <c:showLegendKey val="0"/>
              <c:showVal val="1"/>
              <c:showCatName val="0"/>
              <c:showSerName val="0"/>
              <c:showPercent val="0"/>
              <c:showBubbleSize val="0"/>
            </c:dLbl>
            <c:dLbl>
              <c:idx val="6"/>
              <c:tx>
                <c:rich>
                  <a:bodyPr/>
                  <a:lstStyle/>
                  <a:p>
                    <a:r>
                      <a:t>1093.51</a:t>
                    </a:r>
                  </a:p>
                </c:rich>
              </c:tx>
              <c:dLblPos val="t"/>
              <c:showLegendKey val="0"/>
              <c:showVal val="1"/>
              <c:showCatName val="0"/>
              <c:showSerName val="0"/>
              <c:showPercent val="0"/>
              <c:showBubbleSize val="0"/>
            </c:dLbl>
            <c:dLbl>
              <c:idx val="7"/>
              <c:tx>
                <c:rich>
                  <a:bodyPr/>
                  <a:lstStyle/>
                  <a:p>
                    <a:r>
                      <a:t>1293.88</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391.7444</c:v>
                </c:pt>
                <c:pt idx="1">
                  <c:v>1221.9372</c:v>
                </c:pt>
                <c:pt idx="2">
                  <c:v>4830.9533</c:v>
                </c:pt>
                <c:pt idx="3">
                  <c:v>0.0</c:v>
                </c:pt>
                <c:pt idx="4">
                  <c:v>1124.4307</c:v>
                </c:pt>
                <c:pt idx="5">
                  <c:v>1290.6052</c:v>
                </c:pt>
                <c:pt idx="6">
                  <c:v>1093.5085</c:v>
                </c:pt>
                <c:pt idx="7">
                  <c:v>1293.879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11.1</c:v>
                </c:pt>
                <c:pt idx="1">
                  <c:v>10.9</c:v>
                </c:pt>
                <c:pt idx="2">
                  <c:v>30.0</c:v>
                </c:pt>
                <c:pt idx="3">
                  <c:v>0.0</c:v>
                </c:pt>
                <c:pt idx="4">
                  <c:v>21.8</c:v>
                </c:pt>
                <c:pt idx="5">
                  <c:v>13.5</c:v>
                </c:pt>
                <c:pt idx="6">
                  <c:v>15.6</c:v>
                </c:pt>
                <c:pt idx="7">
                  <c:v>5.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8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80.6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208.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82.9</a:t>
                    </a:r>
                  </a:p>
                </c:rich>
              </c:tx>
              <c:dLblPos val="t"/>
              <c:showLegendKey val="0"/>
              <c:showVal val="1"/>
              <c:showCatName val="0"/>
              <c:showSerName val="0"/>
              <c:showPercent val="0"/>
              <c:showBubbleSize val="0"/>
            </c:dLbl>
            <c:dLbl>
              <c:idx val="5"/>
              <c:tx>
                <c:rich>
                  <a:bodyPr/>
                  <a:lstStyle/>
                  <a:p>
                    <a:r>
                      <a:t>1316.99</a:t>
                    </a:r>
                  </a:p>
                </c:rich>
              </c:tx>
              <c:dLblPos val="t"/>
              <c:showLegendKey val="0"/>
              <c:showVal val="1"/>
              <c:showCatName val="0"/>
              <c:showSerName val="0"/>
              <c:showPercent val="0"/>
              <c:showBubbleSize val="0"/>
            </c:dLbl>
            <c:dLbl>
              <c:idx val="6"/>
              <c:tx>
                <c:rich>
                  <a:bodyPr/>
                  <a:lstStyle/>
                  <a:p>
                    <a:r>
                      <a:t>1192.12</a:t>
                    </a:r>
                  </a:p>
                </c:rich>
              </c:tx>
              <c:dLblPos val="t"/>
              <c:showLegendKey val="0"/>
              <c:showVal val="1"/>
              <c:showCatName val="0"/>
              <c:showSerName val="0"/>
              <c:showPercent val="0"/>
              <c:showBubbleSize val="0"/>
            </c:dLbl>
            <c:dLbl>
              <c:idx val="7"/>
              <c:tx>
                <c:rich>
                  <a:bodyPr/>
                  <a:lstStyle/>
                  <a:p>
                    <a:r>
                      <a:t>1311.64</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482.0165</c:v>
                </c:pt>
                <c:pt idx="1">
                  <c:v>1280.6945</c:v>
                </c:pt>
                <c:pt idx="2">
                  <c:v>4208.5922</c:v>
                </c:pt>
                <c:pt idx="3">
                  <c:v>0.0</c:v>
                </c:pt>
                <c:pt idx="4">
                  <c:v>1182.8998</c:v>
                </c:pt>
                <c:pt idx="5">
                  <c:v>1316.9888</c:v>
                </c:pt>
                <c:pt idx="6">
                  <c:v>1192.1181</c:v>
                </c:pt>
                <c:pt idx="7">
                  <c:v>1311.640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870.1</c:v>
                </c:pt>
                <c:pt idx="1">
                  <c:v>12.5</c:v>
                </c:pt>
                <c:pt idx="2">
                  <c:v>397.0</c:v>
                </c:pt>
                <c:pt idx="3">
                  <c:v>0.0</c:v>
                </c:pt>
                <c:pt idx="4">
                  <c:v>152.7</c:v>
                </c:pt>
                <c:pt idx="5">
                  <c:v>0.0</c:v>
                </c:pt>
                <c:pt idx="6">
                  <c:v>129.5</c:v>
                </c:pt>
                <c:pt idx="7">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11.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4025.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735.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85.81</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085.11</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411.8489</c:v>
                </c:pt>
                <c:pt idx="1">
                  <c:v>4025.5318</c:v>
                </c:pt>
                <c:pt idx="2">
                  <c:v>4735.4713</c:v>
                </c:pt>
                <c:pt idx="3">
                  <c:v>0.0</c:v>
                </c:pt>
                <c:pt idx="4">
                  <c:v>1085.8104</c:v>
                </c:pt>
                <c:pt idx="5">
                  <c:v>0.0</c:v>
                </c:pt>
                <c:pt idx="6">
                  <c:v>1085.1053</c:v>
                </c:pt>
                <c:pt idx="7">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88.6</c:v>
                </c:pt>
                <c:pt idx="1">
                  <c:v>3.0</c:v>
                </c:pt>
                <c:pt idx="2">
                  <c:v>90.8</c:v>
                </c:pt>
                <c:pt idx="3">
                  <c:v>0.0</c:v>
                </c:pt>
                <c:pt idx="4">
                  <c:v>29.6</c:v>
                </c:pt>
                <c:pt idx="5">
                  <c:v>0.0</c:v>
                </c:pt>
                <c:pt idx="6">
                  <c:v>25.7</c:v>
                </c:pt>
                <c:pt idx="7">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28.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434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578.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68.23</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070.34</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428.5276</c:v>
                </c:pt>
                <c:pt idx="1">
                  <c:v>4341.905</c:v>
                </c:pt>
                <c:pt idx="2">
                  <c:v>4578.4648</c:v>
                </c:pt>
                <c:pt idx="3">
                  <c:v>0.0</c:v>
                </c:pt>
                <c:pt idx="4">
                  <c:v>1068.2305</c:v>
                </c:pt>
                <c:pt idx="5">
                  <c:v>0.0</c:v>
                </c:pt>
                <c:pt idx="6">
                  <c:v>1070.3367</c:v>
                </c:pt>
                <c:pt idx="7">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Pt>
            <c:idx val="4"/>
            <c:spPr>
              <a:solidFill>
                <a:srgbClr val="BCBBBB"/>
              </a:solidFill>
            </c:spPr>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osmetics</c:v>
                  </c:pt>
                  <c:pt idx="2">
                    <c:v>Sunscreen Derma</c:v>
                  </c:pt>
                  <c:pt idx="4">
                    <c:v>Sunscreen Sport</c:v>
                  </c:pt>
                  <c:pt idx="6">
                    <c:v>Sunscreen Cosmetics</c:v>
                  </c:pt>
                  <c:pt idx="8">
                    <c:v>Sunscreen Derma</c:v>
                  </c:pt>
                </c:lvl>
                <c:lvl>
                  <c:pt idx="0">
                    <c:v>Sunscreen Adults</c:v>
                  </c:pt>
                  <c:pt idx="6">
                    <c:v>Sunscreen Kids</c:v>
                  </c:pt>
                </c:lvl>
              </c:multiLvlStrCache>
            </c:multiLvlStrRef>
          </c:cat>
          <c:val>
            <c:numRef>
              <c:f>Sheet1!$D$2:$D$11</c:f>
              <c:numCache>
                <c:formatCode>General</c:formatCode>
                <c:ptCount val="10"/>
                <c:pt idx="0">
                  <c:v>127.0</c:v>
                </c:pt>
                <c:pt idx="1">
                  <c:v>1.9</c:v>
                </c:pt>
                <c:pt idx="2">
                  <c:v>121.4</c:v>
                </c:pt>
                <c:pt idx="3">
                  <c:v>0.0</c:v>
                </c:pt>
                <c:pt idx="4">
                  <c:v>20.2</c:v>
                </c:pt>
                <c:pt idx="5">
                  <c:v>0.0</c:v>
                </c:pt>
                <c:pt idx="6">
                  <c:v>18.4</c:v>
                </c:pt>
                <c:pt idx="7">
                  <c:v>0.0</c:v>
                </c:pt>
                <c:pt idx="8">
                  <c:v>3.1</c:v>
                </c:pt>
                <c:pt idx="9">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54.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4279.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5692.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24.2</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069.69</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dLbl>
              <c:idx val="8"/>
              <c:tx>
                <c:rich>
                  <a:bodyPr/>
                  <a:lstStyle/>
                  <a:p>
                    <a:r>
                      <a:t>2598.38</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osmetics</c:v>
                  </c:pt>
                  <c:pt idx="2">
                    <c:v>Sunscreen Derma</c:v>
                  </c:pt>
                  <c:pt idx="4">
                    <c:v>Sunscreen Sport</c:v>
                  </c:pt>
                  <c:pt idx="6">
                    <c:v>Sunscreen Cosmetics</c:v>
                  </c:pt>
                  <c:pt idx="8">
                    <c:v>Sunscreen Derma</c:v>
                  </c:pt>
                </c:lvl>
                <c:lvl>
                  <c:pt idx="0">
                    <c:v>Sunscreen Adults</c:v>
                  </c:pt>
                  <c:pt idx="6">
                    <c:v>Sunscreen Kids</c:v>
                  </c:pt>
                </c:lvl>
              </c:multiLvlStrCache>
            </c:multiLvlStrRef>
          </c:cat>
          <c:val>
            <c:numRef>
              <c:f>Sheet1!$E$2:$E$11</c:f>
              <c:numCache>
                <c:formatCode>General</c:formatCode>
                <c:ptCount val="10"/>
                <c:pt idx="0">
                  <c:v>1454.4892</c:v>
                </c:pt>
                <c:pt idx="1">
                  <c:v>4279.4598</c:v>
                </c:pt>
                <c:pt idx="2">
                  <c:v>5692.152</c:v>
                </c:pt>
                <c:pt idx="3">
                  <c:v>0.0</c:v>
                </c:pt>
                <c:pt idx="4">
                  <c:v>1024.1972</c:v>
                </c:pt>
                <c:pt idx="5">
                  <c:v>0.0</c:v>
                </c:pt>
                <c:pt idx="6">
                  <c:v>1069.6889</c:v>
                </c:pt>
                <c:pt idx="7">
                  <c:v>0.0</c:v>
                </c:pt>
                <c:pt idx="8">
                  <c:v>2598.381</c:v>
                </c:pt>
                <c:pt idx="9">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69.6</c:v>
                </c:pt>
                <c:pt idx="1">
                  <c:v>2.2</c:v>
                </c:pt>
                <c:pt idx="2">
                  <c:v>31.3</c:v>
                </c:pt>
                <c:pt idx="3">
                  <c:v>0.0</c:v>
                </c:pt>
                <c:pt idx="4">
                  <c:v>29.3</c:v>
                </c:pt>
                <c:pt idx="5">
                  <c:v>0.0</c:v>
                </c:pt>
                <c:pt idx="6">
                  <c:v>25.6</c:v>
                </c:pt>
                <c:pt idx="7">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62.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3103.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3222.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76.37</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058.4</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362.6137</c:v>
                </c:pt>
                <c:pt idx="1">
                  <c:v>3103.4389</c:v>
                </c:pt>
                <c:pt idx="2">
                  <c:v>3222.9216</c:v>
                </c:pt>
                <c:pt idx="3">
                  <c:v>0.0</c:v>
                </c:pt>
                <c:pt idx="4">
                  <c:v>1076.3668</c:v>
                </c:pt>
                <c:pt idx="5">
                  <c:v>0.0</c:v>
                </c:pt>
                <c:pt idx="6">
                  <c:v>1058.3979</c:v>
                </c:pt>
                <c:pt idx="7">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1F9EAEC-20EE-4019-B5F7-D493DE885A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722B10F-2537-4867-B0E6-C6970D0563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761E17D-9564-4EE7-9F9F-D0CA8E7E5D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FEA016E-97B0-4C82-97CC-DCA332AEF5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DCC4C72-4848-4255-A963-15DBC909DC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23C6CC5-3DEA-472E-B959-F66C7A7F3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EBF7D4C-1C3B-4496-8E71-CC54E5DB5C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4FD8E2C-5929-42A8-9DBD-5CCD243892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3503</c:v>
                </c:pt>
                <c:pt idx="1">
                  <c:v>196.3721</c:v>
                </c:pt>
                <c:pt idx="2">
                  <c:v>216.8486</c:v>
                </c:pt>
                <c:pt idx="3">
                  <c:v>291.0402</c:v>
                </c:pt>
                <c:pt idx="4">
                  <c:v>590.7656</c:v>
                </c:pt>
                <c:pt idx="5">
                  <c:v>87.4426</c:v>
                </c:pt>
                <c:pt idx="6">
                  <c:v>569.712</c:v>
                </c:pt>
                <c:pt idx="7">
                  <c:v>227.9861</c:v>
                </c:pt>
              </c:numCache>
            </c:numRef>
          </c:xVal>
          <c:yVal>
            <c:numRef>
              <c:f>Sheet1!$B$2:$B$9</c:f>
              <c:numCache>
                <c:formatCode>General</c:formatCode>
                <c:ptCount val="8"/>
                <c:pt idx="0">
                  <c:v>1.003</c:v>
                </c:pt>
                <c:pt idx="1">
                  <c:v>0.71</c:v>
                </c:pt>
                <c:pt idx="2">
                  <c:v>0.681</c:v>
                </c:pt>
                <c:pt idx="3">
                  <c:v>1.894</c:v>
                </c:pt>
                <c:pt idx="4">
                  <c:v>3.917</c:v>
                </c:pt>
                <c:pt idx="5">
                  <c:v>0.393</c:v>
                </c:pt>
                <c:pt idx="6">
                  <c:v>4.841</c:v>
                </c:pt>
                <c:pt idx="7">
                  <c:v>2.523</c:v>
                </c:pt>
              </c:numCache>
            </c:numRef>
          </c:yVal>
          <c:bubbleSize>
            <c:numRef>
              <c:f>Sheet1!$C$2:$C$9</c:f>
              <c:numCache>
                <c:formatCode>General</c:formatCode>
                <c:ptCount val="8"/>
                <c:pt idx="0">
                  <c:v>98282653</c:v>
                </c:pt>
                <c:pt idx="1">
                  <c:v>54081083</c:v>
                </c:pt>
                <c:pt idx="2">
                  <c:v>32135440</c:v>
                </c:pt>
                <c:pt idx="3">
                  <c:v>28036189</c:v>
                </c:pt>
                <c:pt idx="4">
                  <c:v>24994112</c:v>
                </c:pt>
                <c:pt idx="5">
                  <c:v>10334315</c:v>
                </c:pt>
                <c:pt idx="6">
                  <c:v>8938211</c:v>
                </c:pt>
                <c:pt idx="7">
                  <c:v>301762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0"/>
          <c:min val="70.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42.9</c:v>
                </c:pt>
                <c:pt idx="1">
                  <c:v>1.8</c:v>
                </c:pt>
                <c:pt idx="2">
                  <c:v>63.3</c:v>
                </c:pt>
                <c:pt idx="3">
                  <c:v>0.0</c:v>
                </c:pt>
                <c:pt idx="4">
                  <c:v>23.4</c:v>
                </c:pt>
                <c:pt idx="5">
                  <c:v>0.0</c:v>
                </c:pt>
                <c:pt idx="6">
                  <c:v>22.8</c:v>
                </c:pt>
                <c:pt idx="7">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1.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4233.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731.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049.5</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071.02</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381.2603</c:v>
                </c:pt>
                <c:pt idx="1">
                  <c:v>4233.1399</c:v>
                </c:pt>
                <c:pt idx="2">
                  <c:v>4731.589</c:v>
                </c:pt>
                <c:pt idx="3">
                  <c:v>0.0</c:v>
                </c:pt>
                <c:pt idx="4">
                  <c:v>1049.4967</c:v>
                </c:pt>
                <c:pt idx="5">
                  <c:v>0.0</c:v>
                </c:pt>
                <c:pt idx="6">
                  <c:v>1071.0232</c:v>
                </c:pt>
                <c:pt idx="7">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30.9</c:v>
                </c:pt>
                <c:pt idx="1">
                  <c:v>2.0</c:v>
                </c:pt>
                <c:pt idx="2">
                  <c:v>60.2</c:v>
                </c:pt>
                <c:pt idx="3">
                  <c:v>0.0</c:v>
                </c:pt>
                <c:pt idx="4">
                  <c:v>28.3</c:v>
                </c:pt>
                <c:pt idx="5">
                  <c:v>0.0</c:v>
                </c:pt>
                <c:pt idx="6">
                  <c:v>21.4</c:v>
                </c:pt>
                <c:pt idx="7">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9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4326.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830.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24.43</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093.51</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391.7444</c:v>
                </c:pt>
                <c:pt idx="1">
                  <c:v>4326.949</c:v>
                </c:pt>
                <c:pt idx="2">
                  <c:v>4830.9533</c:v>
                </c:pt>
                <c:pt idx="3">
                  <c:v>0.0</c:v>
                </c:pt>
                <c:pt idx="4">
                  <c:v>1124.4307</c:v>
                </c:pt>
                <c:pt idx="5">
                  <c:v>0.0</c:v>
                </c:pt>
                <c:pt idx="6">
                  <c:v>1093.5085</c:v>
                </c:pt>
                <c:pt idx="7">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D$2:$D$9</c:f>
              <c:numCache>
                <c:formatCode>General</c:formatCode>
                <c:ptCount val="8"/>
                <c:pt idx="0">
                  <c:v>111.1</c:v>
                </c:pt>
                <c:pt idx="1">
                  <c:v>1.5</c:v>
                </c:pt>
                <c:pt idx="2">
                  <c:v>30.0</c:v>
                </c:pt>
                <c:pt idx="3">
                  <c:v>0.0</c:v>
                </c:pt>
                <c:pt idx="4">
                  <c:v>21.8</c:v>
                </c:pt>
                <c:pt idx="5">
                  <c:v>0.0</c:v>
                </c:pt>
                <c:pt idx="6">
                  <c:v>15.6</c:v>
                </c:pt>
                <c:pt idx="7">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8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4326.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4208.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82.9</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192.12</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Cosmetics</c:v>
                  </c:pt>
                  <c:pt idx="2">
                    <c:v>Sunscreen Derma</c:v>
                  </c:pt>
                  <c:pt idx="4">
                    <c:v>Sunscreen Sport</c:v>
                  </c:pt>
                  <c:pt idx="6">
                    <c:v>Sunscreen Cosmetics</c:v>
                  </c:pt>
                </c:lvl>
                <c:lvl>
                  <c:pt idx="0">
                    <c:v>Sunscreen Adults</c:v>
                  </c:pt>
                  <c:pt idx="6">
                    <c:v>Sunscreen Kids</c:v>
                  </c:pt>
                </c:lvl>
              </c:multiLvlStrCache>
            </c:multiLvlStrRef>
          </c:cat>
          <c:val>
            <c:numRef>
              <c:f>Sheet1!$E$2:$E$9</c:f>
              <c:numCache>
                <c:formatCode>General</c:formatCode>
                <c:ptCount val="8"/>
                <c:pt idx="0">
                  <c:v>1482.0165</c:v>
                </c:pt>
                <c:pt idx="1">
                  <c:v>4326.4348</c:v>
                </c:pt>
                <c:pt idx="2">
                  <c:v>4208.5922</c:v>
                </c:pt>
                <c:pt idx="3">
                  <c:v>0.0</c:v>
                </c:pt>
                <c:pt idx="4">
                  <c:v>1182.8998</c:v>
                </c:pt>
                <c:pt idx="5">
                  <c:v>0.0</c:v>
                </c:pt>
                <c:pt idx="6">
                  <c:v>1192.1181</c:v>
                </c:pt>
                <c:pt idx="7">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Pt>
            <c:idx val="4"/>
            <c:spPr>
              <a:solidFill>
                <a:srgbClr val="BCBBBB"/>
              </a:solidFill>
            </c:spPr>
          </c:dPt>
          <c:dPt>
            <c:idx val="6"/>
            <c:spPr>
              <a:solidFill>
                <a:srgbClr val="BCBBBB"/>
              </a:solidFill>
            </c:spPr>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lvl>
                <c:lvl>
                  <c:pt idx="0">
                    <c:v>No Spray Crema</c:v>
                  </c:pt>
                  <c:pt idx="2">
                    <c:v>No Spray Liquido</c:v>
                  </c:pt>
                  <c:pt idx="4">
                    <c:v>Spray Liquido</c:v>
                  </c:pt>
                  <c:pt idx="6">
                    <c:v>No Spray Gel</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D$2:$D$17</c:f>
              <c:numCache>
                <c:formatCode>General</c:formatCode>
                <c:ptCount val="16"/>
                <c:pt idx="0">
                  <c:v>712.9</c:v>
                </c:pt>
                <c:pt idx="1">
                  <c:v>133.2</c:v>
                </c:pt>
                <c:pt idx="2">
                  <c:v>331.7</c:v>
                </c:pt>
                <c:pt idx="3">
                  <c:v>175.2</c:v>
                </c:pt>
                <c:pt idx="4">
                  <c:v>124.4</c:v>
                </c:pt>
                <c:pt idx="5">
                  <c:v>77.5</c:v>
                </c:pt>
                <c:pt idx="6">
                  <c:v>102.2</c:v>
                </c:pt>
                <c:pt idx="7">
                  <c:v>0.0</c:v>
                </c:pt>
                <c:pt idx="8">
                  <c:v>54.3</c:v>
                </c:pt>
                <c:pt idx="9">
                  <c:v>0.7</c:v>
                </c:pt>
                <c:pt idx="10">
                  <c:v>34.5</c:v>
                </c:pt>
                <c:pt idx="11">
                  <c:v>5.2</c:v>
                </c:pt>
                <c:pt idx="12">
                  <c:v>32.3</c:v>
                </c:pt>
                <c:pt idx="13">
                  <c:v>0.5</c:v>
                </c:pt>
                <c:pt idx="14">
                  <c:v>26.1</c:v>
                </c:pt>
                <c:pt idx="15">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740.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12.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6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40.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412.98</a:t>
                    </a:r>
                  </a:p>
                </c:rich>
              </c:tx>
              <c:dLblPos val="t"/>
              <c:showLegendKey val="0"/>
              <c:showVal val="1"/>
              <c:showCatName val="0"/>
              <c:showSerName val="0"/>
              <c:showPercent val="0"/>
              <c:showBubbleSize val="0"/>
            </c:dLbl>
            <c:dLbl>
              <c:idx val="5"/>
              <c:tx>
                <c:rich>
                  <a:bodyPr/>
                  <a:lstStyle/>
                  <a:p>
                    <a:r>
                      <a:t>1332.4</a:t>
                    </a:r>
                  </a:p>
                </c:rich>
              </c:tx>
              <c:dLblPos val="t"/>
              <c:showLegendKey val="0"/>
              <c:showVal val="1"/>
              <c:showCatName val="0"/>
              <c:showSerName val="0"/>
              <c:showPercent val="0"/>
              <c:showBubbleSize val="0"/>
            </c:dLbl>
            <c:dLbl>
              <c:idx val="6"/>
              <c:tx>
                <c:rich>
                  <a:bodyPr/>
                  <a:lstStyle/>
                  <a:p>
                    <a:r>
                      <a:t>1747.7</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dLbl>
              <c:idx val="8"/>
              <c:tx>
                <c:rich>
                  <a:bodyPr/>
                  <a:lstStyle/>
                  <a:p>
                    <a:r>
                      <a:t>10745.72</a:t>
                    </a:r>
                  </a:p>
                </c:rich>
              </c:tx>
              <c:dLblPos val="t"/>
              <c:showLegendKey val="0"/>
              <c:showVal val="1"/>
              <c:showCatName val="0"/>
              <c:showSerName val="0"/>
              <c:showPercent val="0"/>
              <c:showBubbleSize val="0"/>
            </c:dLbl>
            <c:dLbl>
              <c:idx val="9"/>
              <c:tx>
                <c:rich>
                  <a:bodyPr/>
                  <a:lstStyle/>
                  <a:p>
                    <a:r>
                      <a:t>5633.8</a:t>
                    </a:r>
                  </a:p>
                </c:rich>
              </c:tx>
              <c:dLblPos val="t"/>
              <c:showLegendKey val="0"/>
              <c:showVal val="1"/>
              <c:showCatName val="0"/>
              <c:showSerName val="0"/>
              <c:showPercent val="0"/>
              <c:showBubbleSize val="0"/>
            </c:dLbl>
            <c:dLbl>
              <c:idx val="10"/>
              <c:tx>
                <c:rich>
                  <a:bodyPr/>
                  <a:lstStyle/>
                  <a:p>
                    <a:r>
                      <a:t>696.44</a:t>
                    </a:r>
                  </a:p>
                </c:rich>
              </c:tx>
              <c:dLblPos val="t"/>
              <c:showLegendKey val="0"/>
              <c:showVal val="1"/>
              <c:showCatName val="0"/>
              <c:showSerName val="0"/>
              <c:showPercent val="0"/>
              <c:showBubbleSize val="0"/>
            </c:dLbl>
            <c:dLbl>
              <c:idx val="11"/>
              <c:tx>
                <c:rich>
                  <a:bodyPr/>
                  <a:lstStyle/>
                  <a:p>
                    <a:r>
                      <a:t>1057.88</a:t>
                    </a:r>
                  </a:p>
                </c:rich>
              </c:tx>
              <c:dLblPos val="t"/>
              <c:showLegendKey val="0"/>
              <c:showVal val="1"/>
              <c:showCatName val="0"/>
              <c:showSerName val="0"/>
              <c:showPercent val="0"/>
              <c:showBubbleSize val="0"/>
            </c:dLbl>
            <c:dLbl>
              <c:idx val="12"/>
              <c:tx>
                <c:rich>
                  <a:bodyPr/>
                  <a:lstStyle/>
                  <a:p>
                    <a:r>
                      <a:t>1315.27</a:t>
                    </a:r>
                  </a:p>
                </c:rich>
              </c:tx>
              <c:dLblPos val="t"/>
              <c:showLegendKey val="0"/>
              <c:showVal val="1"/>
              <c:showCatName val="0"/>
              <c:showSerName val="0"/>
              <c:showPercent val="0"/>
              <c:showBubbleSize val="0"/>
            </c:dLbl>
            <c:dLbl>
              <c:idx val="13"/>
              <c:tx>
                <c:rich>
                  <a:bodyPr/>
                  <a:lstStyle/>
                  <a:p>
                    <a:r>
                      <a:t>596.55</a:t>
                    </a:r>
                  </a:p>
                </c:rich>
              </c:tx>
              <c:dLblPos val="t"/>
              <c:showLegendKey val="0"/>
              <c:showVal val="1"/>
              <c:showCatName val="0"/>
              <c:showSerName val="0"/>
              <c:showPercent val="0"/>
              <c:showBubbleSize val="0"/>
            </c:dLbl>
            <c:dLbl>
              <c:idx val="14"/>
              <c:tx>
                <c:rich>
                  <a:bodyPr/>
                  <a:lstStyle/>
                  <a:p>
                    <a:r>
                      <a:t>1694.59</a:t>
                    </a:r>
                  </a:p>
                </c:rich>
              </c:tx>
              <c:dLblPos val="t"/>
              <c:showLegendKey val="0"/>
              <c:showVal val="1"/>
              <c:showCatName val="0"/>
              <c:showSerName val="0"/>
              <c:showPercent val="0"/>
              <c:showBubbleSize val="0"/>
            </c:dLbl>
            <c:dLbl>
              <c:idx val="15"/>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lvl>
                <c:lvl>
                  <c:pt idx="0">
                    <c:v>No Spray Crema</c:v>
                  </c:pt>
                  <c:pt idx="2">
                    <c:v>No Spray Liquido</c:v>
                  </c:pt>
                  <c:pt idx="4">
                    <c:v>Spray Liquido</c:v>
                  </c:pt>
                  <c:pt idx="6">
                    <c:v>No Spray Gel</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E$2:$E$17</c:f>
              <c:numCache>
                <c:formatCode>General</c:formatCode>
                <c:ptCount val="16"/>
                <c:pt idx="0">
                  <c:v>1740.6312</c:v>
                </c:pt>
                <c:pt idx="1">
                  <c:v>1112.37</c:v>
                </c:pt>
                <c:pt idx="2">
                  <c:v>1363.8256</c:v>
                </c:pt>
                <c:pt idx="3">
                  <c:v>1240.8344</c:v>
                </c:pt>
                <c:pt idx="4">
                  <c:v>1412.978</c:v>
                </c:pt>
                <c:pt idx="5">
                  <c:v>1332.4006</c:v>
                </c:pt>
                <c:pt idx="6">
                  <c:v>1747.7024</c:v>
                </c:pt>
                <c:pt idx="7">
                  <c:v>0.0</c:v>
                </c:pt>
                <c:pt idx="8">
                  <c:v>10745.7167</c:v>
                </c:pt>
                <c:pt idx="9">
                  <c:v>5633.8</c:v>
                </c:pt>
                <c:pt idx="10">
                  <c:v>696.4399</c:v>
                </c:pt>
                <c:pt idx="11">
                  <c:v>1057.8791</c:v>
                </c:pt>
                <c:pt idx="12">
                  <c:v>1315.2692</c:v>
                </c:pt>
                <c:pt idx="13">
                  <c:v>596.546</c:v>
                </c:pt>
                <c:pt idx="14">
                  <c:v>1694.5946</c:v>
                </c:pt>
                <c:pt idx="15">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Pt>
            <c:idx val="4"/>
            <c:spPr>
              <a:solidFill>
                <a:srgbClr val="BCBBBB"/>
              </a:solidFill>
            </c:spPr>
          </c:dPt>
          <c:dPt>
            <c:idx val="6"/>
            <c:spPr>
              <a:solidFill>
                <a:srgbClr val="BCBBBB"/>
              </a:solidFill>
            </c:spPr>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lvl>
                <c:lvl>
                  <c:pt idx="0">
                    <c:v>No Spray Crema</c:v>
                  </c:pt>
                  <c:pt idx="2">
                    <c:v>No Spray Liquido</c:v>
                  </c:pt>
                  <c:pt idx="4">
                    <c:v>No Spray Gel</c:v>
                  </c:pt>
                  <c:pt idx="6">
                    <c:v>Spray Liquido</c:v>
                  </c:pt>
                  <c:pt idx="8">
                    <c:v>No Spray Fluido</c:v>
                  </c:pt>
                  <c:pt idx="10">
                    <c:v>No Spray Liquido</c:v>
                  </c:pt>
                  <c:pt idx="12">
                    <c:v>No Spray Crema</c:v>
                  </c:pt>
                  <c:pt idx="14">
                    <c:v>No Spray Gel</c:v>
                  </c:pt>
                </c:lvl>
                <c:lvl>
                  <c:pt idx="0">
                    <c:v>Sunscreen Adults</c:v>
                  </c:pt>
                  <c:pt idx="10">
                    <c:v>Sunscreen Kids</c:v>
                  </c:pt>
                </c:lvl>
              </c:multiLvlStrCache>
            </c:multiLvlStrRef>
          </c:cat>
          <c:val>
            <c:numRef>
              <c:f>Sheet1!$D$2:$D$17</c:f>
              <c:numCache>
                <c:formatCode>General</c:formatCode>
                <c:ptCount val="16"/>
                <c:pt idx="0">
                  <c:v>163.0</c:v>
                </c:pt>
                <c:pt idx="1">
                  <c:v>29.0</c:v>
                </c:pt>
                <c:pt idx="2">
                  <c:v>75.7</c:v>
                </c:pt>
                <c:pt idx="3">
                  <c:v>43.0</c:v>
                </c:pt>
                <c:pt idx="4">
                  <c:v>21.9</c:v>
                </c:pt>
                <c:pt idx="5">
                  <c:v>0.0</c:v>
                </c:pt>
                <c:pt idx="6">
                  <c:v>18.9</c:v>
                </c:pt>
                <c:pt idx="7">
                  <c:v>10.6</c:v>
                </c:pt>
                <c:pt idx="8">
                  <c:v>10.7</c:v>
                </c:pt>
                <c:pt idx="9">
                  <c:v>0.3</c:v>
                </c:pt>
                <c:pt idx="10">
                  <c:v>7.3</c:v>
                </c:pt>
                <c:pt idx="11">
                  <c:v>0.2</c:v>
                </c:pt>
                <c:pt idx="12">
                  <c:v>6.7</c:v>
                </c:pt>
                <c:pt idx="13">
                  <c:v>1.0</c:v>
                </c:pt>
                <c:pt idx="14">
                  <c:v>4.9</c:v>
                </c:pt>
                <c:pt idx="15">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78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18.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82.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58.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743.63</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380.8</a:t>
                    </a:r>
                  </a:p>
                </c:rich>
              </c:tx>
              <c:dLblPos val="t"/>
              <c:showLegendKey val="0"/>
              <c:showVal val="1"/>
              <c:showCatName val="0"/>
              <c:showSerName val="0"/>
              <c:showPercent val="0"/>
              <c:showBubbleSize val="0"/>
            </c:dLbl>
            <c:dLbl>
              <c:idx val="7"/>
              <c:tx>
                <c:rich>
                  <a:bodyPr/>
                  <a:lstStyle/>
                  <a:p>
                    <a:r>
                      <a:t>1251.11</a:t>
                    </a:r>
                  </a:p>
                </c:rich>
              </c:tx>
              <c:dLblPos val="t"/>
              <c:showLegendKey val="0"/>
              <c:showVal val="1"/>
              <c:showCatName val="0"/>
              <c:showSerName val="0"/>
              <c:showPercent val="0"/>
              <c:showBubbleSize val="0"/>
            </c:dLbl>
            <c:dLbl>
              <c:idx val="8"/>
              <c:tx>
                <c:rich>
                  <a:bodyPr/>
                  <a:lstStyle/>
                  <a:p>
                    <a:r>
                      <a:t>10299.24</a:t>
                    </a:r>
                  </a:p>
                </c:rich>
              </c:tx>
              <c:dLblPos val="t"/>
              <c:showLegendKey val="0"/>
              <c:showVal val="1"/>
              <c:showCatName val="0"/>
              <c:showSerName val="0"/>
              <c:showPercent val="0"/>
              <c:showBubbleSize val="0"/>
            </c:dLbl>
            <c:dLbl>
              <c:idx val="9"/>
              <c:tx>
                <c:rich>
                  <a:bodyPr/>
                  <a:lstStyle/>
                  <a:p>
                    <a:r>
                      <a:t>5413.5</a:t>
                    </a:r>
                  </a:p>
                </c:rich>
              </c:tx>
              <c:dLblPos val="t"/>
              <c:showLegendKey val="0"/>
              <c:showVal val="1"/>
              <c:showCatName val="0"/>
              <c:showSerName val="0"/>
              <c:showPercent val="0"/>
              <c:showBubbleSize val="0"/>
            </c:dLbl>
            <c:dLbl>
              <c:idx val="10"/>
              <c:tx>
                <c:rich>
                  <a:bodyPr/>
                  <a:lstStyle/>
                  <a:p>
                    <a:r>
                      <a:t>1301.42</a:t>
                    </a:r>
                  </a:p>
                </c:rich>
              </c:tx>
              <c:dLblPos val="t"/>
              <c:showLegendKey val="0"/>
              <c:showVal val="1"/>
              <c:showCatName val="0"/>
              <c:showSerName val="0"/>
              <c:showPercent val="0"/>
              <c:showBubbleSize val="0"/>
            </c:dLbl>
            <c:dLbl>
              <c:idx val="11"/>
              <c:tx>
                <c:rich>
                  <a:bodyPr/>
                  <a:lstStyle/>
                  <a:p>
                    <a:r>
                      <a:t>584.17</a:t>
                    </a:r>
                  </a:p>
                </c:rich>
              </c:tx>
              <c:dLblPos val="t"/>
              <c:showLegendKey val="0"/>
              <c:showVal val="1"/>
              <c:showCatName val="0"/>
              <c:showSerName val="0"/>
              <c:showPercent val="0"/>
              <c:showBubbleSize val="0"/>
            </c:dLbl>
            <c:dLbl>
              <c:idx val="12"/>
              <c:tx>
                <c:rich>
                  <a:bodyPr/>
                  <a:lstStyle/>
                  <a:p>
                    <a:r>
                      <a:t>667.13</a:t>
                    </a:r>
                  </a:p>
                </c:rich>
              </c:tx>
              <c:dLblPos val="t"/>
              <c:showLegendKey val="0"/>
              <c:showVal val="1"/>
              <c:showCatName val="0"/>
              <c:showSerName val="0"/>
              <c:showPercent val="0"/>
              <c:showBubbleSize val="0"/>
            </c:dLbl>
            <c:dLbl>
              <c:idx val="13"/>
              <c:tx>
                <c:rich>
                  <a:bodyPr/>
                  <a:lstStyle/>
                  <a:p>
                    <a:r>
                      <a:t>1081.11</a:t>
                    </a:r>
                  </a:p>
                </c:rich>
              </c:tx>
              <c:dLblPos val="t"/>
              <c:showLegendKey val="0"/>
              <c:showVal val="1"/>
              <c:showCatName val="0"/>
              <c:showSerName val="0"/>
              <c:showPercent val="0"/>
              <c:showBubbleSize val="0"/>
            </c:dLbl>
            <c:dLbl>
              <c:idx val="14"/>
              <c:tx>
                <c:rich>
                  <a:bodyPr/>
                  <a:lstStyle/>
                  <a:p>
                    <a:r>
                      <a:t>1722.99</a:t>
                    </a:r>
                  </a:p>
                </c:rich>
              </c:tx>
              <c:dLblPos val="t"/>
              <c:showLegendKey val="0"/>
              <c:showVal val="1"/>
              <c:showCatName val="0"/>
              <c:showSerName val="0"/>
              <c:showPercent val="0"/>
              <c:showBubbleSize val="0"/>
            </c:dLbl>
            <c:dLbl>
              <c:idx val="15"/>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lvl>
                <c:lvl>
                  <c:pt idx="0">
                    <c:v>No Spray Crema</c:v>
                  </c:pt>
                  <c:pt idx="2">
                    <c:v>No Spray Liquido</c:v>
                  </c:pt>
                  <c:pt idx="4">
                    <c:v>No Spray Gel</c:v>
                  </c:pt>
                  <c:pt idx="6">
                    <c:v>Spray Liquido</c:v>
                  </c:pt>
                  <c:pt idx="8">
                    <c:v>No Spray Fluido</c:v>
                  </c:pt>
                  <c:pt idx="10">
                    <c:v>No Spray Liquido</c:v>
                  </c:pt>
                  <c:pt idx="12">
                    <c:v>No Spray Crema</c:v>
                  </c:pt>
                  <c:pt idx="14">
                    <c:v>No Spray Gel</c:v>
                  </c:pt>
                </c:lvl>
                <c:lvl>
                  <c:pt idx="0">
                    <c:v>Sunscreen Adults</c:v>
                  </c:pt>
                  <c:pt idx="10">
                    <c:v>Sunscreen Kids</c:v>
                  </c:pt>
                </c:lvl>
              </c:multiLvlStrCache>
            </c:multiLvlStrRef>
          </c:cat>
          <c:val>
            <c:numRef>
              <c:f>Sheet1!$E$2:$E$17</c:f>
              <c:numCache>
                <c:formatCode>General</c:formatCode>
                <c:ptCount val="16"/>
                <c:pt idx="0">
                  <c:v>1787.0997</c:v>
                </c:pt>
                <c:pt idx="1">
                  <c:v>1118.0628</c:v>
                </c:pt>
                <c:pt idx="2">
                  <c:v>1382.5326</c:v>
                </c:pt>
                <c:pt idx="3">
                  <c:v>1258.5171</c:v>
                </c:pt>
                <c:pt idx="4">
                  <c:v>1743.6278</c:v>
                </c:pt>
                <c:pt idx="5">
                  <c:v>0.0</c:v>
                </c:pt>
                <c:pt idx="6">
                  <c:v>1380.7984</c:v>
                </c:pt>
                <c:pt idx="7">
                  <c:v>1251.109</c:v>
                </c:pt>
                <c:pt idx="8">
                  <c:v>10299.2377</c:v>
                </c:pt>
                <c:pt idx="9">
                  <c:v>5413.5</c:v>
                </c:pt>
                <c:pt idx="10">
                  <c:v>1301.417</c:v>
                </c:pt>
                <c:pt idx="11">
                  <c:v>584.1684</c:v>
                </c:pt>
                <c:pt idx="12">
                  <c:v>667.1291</c:v>
                </c:pt>
                <c:pt idx="13">
                  <c:v>1081.1089</c:v>
                </c:pt>
                <c:pt idx="14">
                  <c:v>1722.9855</c:v>
                </c:pt>
                <c:pt idx="15">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Pt>
            <c:idx val="4"/>
            <c:spPr>
              <a:solidFill>
                <a:srgbClr val="BCBBBB"/>
              </a:solidFill>
            </c:spPr>
          </c:dPt>
          <c:dPt>
            <c:idx val="6"/>
            <c:spPr>
              <a:solidFill>
                <a:srgbClr val="BCBBBB"/>
              </a:solidFill>
            </c:spPr>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lvl>
                <c:lvl>
                  <c:pt idx="0">
                    <c:v>No Spray Crema</c:v>
                  </c:pt>
                  <c:pt idx="2">
                    <c:v>No Spray Liquido</c:v>
                  </c:pt>
                  <c:pt idx="4">
                    <c:v>No Spray Gel</c:v>
                  </c:pt>
                  <c:pt idx="6">
                    <c:v>No Spray Fluido</c:v>
                  </c:pt>
                  <c:pt idx="8">
                    <c:v>Spray Liquido</c:v>
                  </c:pt>
                  <c:pt idx="10">
                    <c:v>No Spray Crema</c:v>
                  </c:pt>
                  <c:pt idx="12">
                    <c:v>No Spray Liquido</c:v>
                  </c:pt>
                </c:lvl>
                <c:lvl>
                  <c:pt idx="0">
                    <c:v>Sunscreen Adults</c:v>
                  </c:pt>
                  <c:pt idx="10">
                    <c:v>Sunscreen Kids</c:v>
                  </c:pt>
                </c:lvl>
              </c:multiLvlStrCache>
            </c:multiLvlStrRef>
          </c:cat>
          <c:val>
            <c:numRef>
              <c:f>Sheet1!$D$2:$D$15</c:f>
              <c:numCache>
                <c:formatCode>General</c:formatCode>
                <c:ptCount val="14"/>
                <c:pt idx="0">
                  <c:v>144.4</c:v>
                </c:pt>
                <c:pt idx="1">
                  <c:v>18.2</c:v>
                </c:pt>
                <c:pt idx="2">
                  <c:v>48.0</c:v>
                </c:pt>
                <c:pt idx="3">
                  <c:v>27.4</c:v>
                </c:pt>
                <c:pt idx="4">
                  <c:v>22.4</c:v>
                </c:pt>
                <c:pt idx="5">
                  <c:v>0.0</c:v>
                </c:pt>
                <c:pt idx="6">
                  <c:v>20.4</c:v>
                </c:pt>
                <c:pt idx="7">
                  <c:v>0.1</c:v>
                </c:pt>
                <c:pt idx="8">
                  <c:v>14.1</c:v>
                </c:pt>
                <c:pt idx="9">
                  <c:v>8.2</c:v>
                </c:pt>
                <c:pt idx="10">
                  <c:v>5.2</c:v>
                </c:pt>
                <c:pt idx="11">
                  <c:v>0.5</c:v>
                </c:pt>
                <c:pt idx="12">
                  <c:v>4.8</c:v>
                </c:pt>
                <c:pt idx="13">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212.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08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75.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20.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2170.78</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0595.32</a:t>
                    </a:r>
                  </a:p>
                </c:rich>
              </c:tx>
              <c:dLblPos val="t"/>
              <c:showLegendKey val="0"/>
              <c:showVal val="1"/>
              <c:showCatName val="0"/>
              <c:showSerName val="0"/>
              <c:showPercent val="0"/>
              <c:showBubbleSize val="0"/>
            </c:dLbl>
            <c:dLbl>
              <c:idx val="7"/>
              <c:tx>
                <c:rich>
                  <a:bodyPr/>
                  <a:lstStyle/>
                  <a:p>
                    <a:r>
                      <a:t>5846.71</a:t>
                    </a:r>
                  </a:p>
                </c:rich>
              </c:tx>
              <c:dLblPos val="t"/>
              <c:showLegendKey val="0"/>
              <c:showVal val="1"/>
              <c:showCatName val="0"/>
              <c:showSerName val="0"/>
              <c:showPercent val="0"/>
              <c:showBubbleSize val="0"/>
            </c:dLbl>
            <c:dLbl>
              <c:idx val="8"/>
              <c:tx>
                <c:rich>
                  <a:bodyPr/>
                  <a:lstStyle/>
                  <a:p>
                    <a:r>
                      <a:t>1425.33</a:t>
                    </a:r>
                  </a:p>
                </c:rich>
              </c:tx>
              <c:dLblPos val="t"/>
              <c:showLegendKey val="0"/>
              <c:showVal val="1"/>
              <c:showCatName val="0"/>
              <c:showSerName val="0"/>
              <c:showPercent val="0"/>
              <c:showBubbleSize val="0"/>
            </c:dLbl>
            <c:dLbl>
              <c:idx val="9"/>
              <c:tx>
                <c:rich>
                  <a:bodyPr/>
                  <a:lstStyle/>
                  <a:p>
                    <a:r>
                      <a:t>1207.03</a:t>
                    </a:r>
                  </a:p>
                </c:rich>
              </c:tx>
              <c:dLblPos val="t"/>
              <c:showLegendKey val="0"/>
              <c:showVal val="1"/>
              <c:showCatName val="0"/>
              <c:showSerName val="0"/>
              <c:showPercent val="0"/>
              <c:showBubbleSize val="0"/>
            </c:dLbl>
            <c:dLbl>
              <c:idx val="10"/>
              <c:tx>
                <c:rich>
                  <a:bodyPr/>
                  <a:lstStyle/>
                  <a:p>
                    <a:r>
                      <a:t>717.41</a:t>
                    </a:r>
                  </a:p>
                </c:rich>
              </c:tx>
              <c:dLblPos val="t"/>
              <c:showLegendKey val="0"/>
              <c:showVal val="1"/>
              <c:showCatName val="0"/>
              <c:showSerName val="0"/>
              <c:showPercent val="0"/>
              <c:showBubbleSize val="0"/>
            </c:dLbl>
            <c:dLbl>
              <c:idx val="11"/>
              <c:tx>
                <c:rich>
                  <a:bodyPr/>
                  <a:lstStyle/>
                  <a:p>
                    <a:r>
                      <a:t>1045.9</a:t>
                    </a:r>
                  </a:p>
                </c:rich>
              </c:tx>
              <c:dLblPos val="t"/>
              <c:showLegendKey val="0"/>
              <c:showVal val="1"/>
              <c:showCatName val="0"/>
              <c:showSerName val="0"/>
              <c:showPercent val="0"/>
              <c:showBubbleSize val="0"/>
            </c:dLbl>
            <c:dLbl>
              <c:idx val="12"/>
              <c:tx>
                <c:rich>
                  <a:bodyPr/>
                  <a:lstStyle/>
                  <a:p>
                    <a:r>
                      <a:t>1401.01</a:t>
                    </a:r>
                  </a:p>
                </c:rich>
              </c:tx>
              <c:dLblPos val="t"/>
              <c:showLegendKey val="0"/>
              <c:showVal val="1"/>
              <c:showCatName val="0"/>
              <c:showSerName val="0"/>
              <c:showPercent val="0"/>
              <c:showBubbleSize val="0"/>
            </c:dLbl>
            <c:dLbl>
              <c:idx val="13"/>
              <c:tx>
                <c:rich>
                  <a:bodyPr/>
                  <a:lstStyle/>
                  <a:p>
                    <a:r>
                      <a:t>763.21</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lvl>
                <c:lvl>
                  <c:pt idx="0">
                    <c:v>No Spray Crema</c:v>
                  </c:pt>
                  <c:pt idx="2">
                    <c:v>No Spray Liquido</c:v>
                  </c:pt>
                  <c:pt idx="4">
                    <c:v>No Spray Gel</c:v>
                  </c:pt>
                  <c:pt idx="6">
                    <c:v>No Spray Fluido</c:v>
                  </c:pt>
                  <c:pt idx="8">
                    <c:v>Spray Liquido</c:v>
                  </c:pt>
                  <c:pt idx="10">
                    <c:v>No Spray Crema</c:v>
                  </c:pt>
                  <c:pt idx="12">
                    <c:v>No Spray Liquido</c:v>
                  </c:pt>
                </c:lvl>
                <c:lvl>
                  <c:pt idx="0">
                    <c:v>Sunscreen Adults</c:v>
                  </c:pt>
                  <c:pt idx="10">
                    <c:v>Sunscreen Kids</c:v>
                  </c:pt>
                </c:lvl>
              </c:multiLvlStrCache>
            </c:multiLvlStrRef>
          </c:cat>
          <c:val>
            <c:numRef>
              <c:f>Sheet1!$E$2:$E$15</c:f>
              <c:numCache>
                <c:formatCode>General</c:formatCode>
                <c:ptCount val="14"/>
                <c:pt idx="0">
                  <c:v>2212.3442</c:v>
                </c:pt>
                <c:pt idx="1">
                  <c:v>1086.1979</c:v>
                </c:pt>
                <c:pt idx="2">
                  <c:v>1375.4544</c:v>
                </c:pt>
                <c:pt idx="3">
                  <c:v>1220.2827</c:v>
                </c:pt>
                <c:pt idx="4">
                  <c:v>2170.7798</c:v>
                </c:pt>
                <c:pt idx="5">
                  <c:v>0.0</c:v>
                </c:pt>
                <c:pt idx="6">
                  <c:v>10595.3196</c:v>
                </c:pt>
                <c:pt idx="7">
                  <c:v>5846.7143</c:v>
                </c:pt>
                <c:pt idx="8">
                  <c:v>1425.3298</c:v>
                </c:pt>
                <c:pt idx="9">
                  <c:v>1207.0334</c:v>
                </c:pt>
                <c:pt idx="10">
                  <c:v>717.4099</c:v>
                </c:pt>
                <c:pt idx="11">
                  <c:v>1045.8996</c:v>
                </c:pt>
                <c:pt idx="12">
                  <c:v>1401.0145</c:v>
                </c:pt>
                <c:pt idx="13">
                  <c:v>763.209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Pt>
            <c:idx val="4"/>
            <c:spPr>
              <a:solidFill>
                <a:srgbClr val="BCBBBB"/>
              </a:solidFill>
            </c:spPr>
          </c:dPt>
          <c:dPt>
            <c:idx val="6"/>
            <c:spPr>
              <a:solidFill>
                <a:srgbClr val="BCBBBB"/>
              </a:solidFill>
            </c:spPr>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lvl>
                <c:lvl>
                  <c:pt idx="0">
                    <c:v>No Spray Gel</c:v>
                  </c:pt>
                  <c:pt idx="2">
                    <c:v>No Spray Crema</c:v>
                  </c:pt>
                  <c:pt idx="4">
                    <c:v>No Spray Liquido</c:v>
                  </c:pt>
                  <c:pt idx="6">
                    <c:v>Spray Liquido</c:v>
                  </c:pt>
                  <c:pt idx="8">
                    <c:v>No Spray Gel</c:v>
                  </c:pt>
                  <c:pt idx="10">
                    <c:v>No Spray Crema</c:v>
                  </c:pt>
                  <c:pt idx="12">
                    <c:v>No Spray Gel</c:v>
                  </c:pt>
                  <c:pt idx="14">
                    <c:v>No Spray Liquido</c:v>
                  </c:pt>
                </c:lvl>
                <c:lvl>
                  <c:pt idx="0">
                    <c:v>After Sun Adults</c:v>
                  </c:pt>
                  <c:pt idx="2">
                    <c:v>Sunscreen Adults</c:v>
                  </c:pt>
                  <c:pt idx="10">
                    <c:v>Sunscreen Kids</c:v>
                  </c:pt>
                </c:lvl>
              </c:multiLvlStrCache>
            </c:multiLvlStrRef>
          </c:cat>
          <c:val>
            <c:numRef>
              <c:f>Sheet1!$D$2:$D$17</c:f>
              <c:numCache>
                <c:formatCode>General</c:formatCode>
                <c:ptCount val="16"/>
                <c:pt idx="0">
                  <c:v>5.4</c:v>
                </c:pt>
                <c:pt idx="1">
                  <c:v>4.2</c:v>
                </c:pt>
                <c:pt idx="2">
                  <c:v>103.1</c:v>
                </c:pt>
                <c:pt idx="3">
                  <c:v>21.5</c:v>
                </c:pt>
                <c:pt idx="4">
                  <c:v>61.9</c:v>
                </c:pt>
                <c:pt idx="5">
                  <c:v>28.7</c:v>
                </c:pt>
                <c:pt idx="6">
                  <c:v>29.5</c:v>
                </c:pt>
                <c:pt idx="7">
                  <c:v>17.8</c:v>
                </c:pt>
                <c:pt idx="8">
                  <c:v>15.9</c:v>
                </c:pt>
                <c:pt idx="9">
                  <c:v>0.0</c:v>
                </c:pt>
                <c:pt idx="10">
                  <c:v>7.2</c:v>
                </c:pt>
                <c:pt idx="11">
                  <c:v>1.1</c:v>
                </c:pt>
                <c:pt idx="12">
                  <c:v>6.2</c:v>
                </c:pt>
                <c:pt idx="13">
                  <c:v>0.0</c:v>
                </c:pt>
                <c:pt idx="14">
                  <c:v>5.3</c:v>
                </c:pt>
                <c:pt idx="15">
                  <c:v>0.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71.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546.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439.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02.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309.09</a:t>
                    </a:r>
                  </a:p>
                </c:rich>
              </c:tx>
              <c:dLblPos val="t"/>
              <c:showLegendKey val="0"/>
              <c:showVal val="1"/>
              <c:showCatName val="0"/>
              <c:showSerName val="0"/>
              <c:showPercent val="0"/>
              <c:showBubbleSize val="0"/>
            </c:dLbl>
            <c:dLbl>
              <c:idx val="5"/>
              <c:tx>
                <c:rich>
                  <a:bodyPr/>
                  <a:lstStyle/>
                  <a:p>
                    <a:r>
                      <a:t>1193.87</a:t>
                    </a:r>
                  </a:p>
                </c:rich>
              </c:tx>
              <c:dLblPos val="t"/>
              <c:showLegendKey val="0"/>
              <c:showVal val="1"/>
              <c:showCatName val="0"/>
              <c:showSerName val="0"/>
              <c:showPercent val="0"/>
              <c:showBubbleSize val="0"/>
            </c:dLbl>
            <c:dLbl>
              <c:idx val="6"/>
              <c:tx>
                <c:rich>
                  <a:bodyPr/>
                  <a:lstStyle/>
                  <a:p>
                    <a:r>
                      <a:t>1364.75</a:t>
                    </a:r>
                  </a:p>
                </c:rich>
              </c:tx>
              <c:dLblPos val="t"/>
              <c:showLegendKey val="0"/>
              <c:showVal val="1"/>
              <c:showCatName val="0"/>
              <c:showSerName val="0"/>
              <c:showPercent val="0"/>
              <c:showBubbleSize val="0"/>
            </c:dLbl>
            <c:dLbl>
              <c:idx val="7"/>
              <c:tx>
                <c:rich>
                  <a:bodyPr/>
                  <a:lstStyle/>
                  <a:p>
                    <a:r>
                      <a:t>1313.9</a:t>
                    </a:r>
                  </a:p>
                </c:rich>
              </c:tx>
              <c:dLblPos val="t"/>
              <c:showLegendKey val="0"/>
              <c:showVal val="1"/>
              <c:showCatName val="0"/>
              <c:showSerName val="0"/>
              <c:showPercent val="0"/>
              <c:showBubbleSize val="0"/>
            </c:dLbl>
            <c:dLbl>
              <c:idx val="8"/>
              <c:tx>
                <c:rich>
                  <a:bodyPr/>
                  <a:lstStyle/>
                  <a:p>
                    <a:r>
                      <a:t>1360.65</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dLbl>
              <c:idx val="10"/>
              <c:tx>
                <c:rich>
                  <a:bodyPr/>
                  <a:lstStyle/>
                  <a:p>
                    <a:r>
                      <a:t>706.38</a:t>
                    </a:r>
                  </a:p>
                </c:rich>
              </c:tx>
              <c:dLblPos val="t"/>
              <c:showLegendKey val="0"/>
              <c:showVal val="1"/>
              <c:showCatName val="0"/>
              <c:showSerName val="0"/>
              <c:showPercent val="0"/>
              <c:showBubbleSize val="0"/>
            </c:dLbl>
            <c:dLbl>
              <c:idx val="11"/>
              <c:tx>
                <c:rich>
                  <a:bodyPr/>
                  <a:lstStyle/>
                  <a:p>
                    <a:r>
                      <a:t>907.8</a:t>
                    </a:r>
                  </a:p>
                </c:rich>
              </c:tx>
              <c:dLblPos val="t"/>
              <c:showLegendKey val="0"/>
              <c:showVal val="1"/>
              <c:showCatName val="0"/>
              <c:showSerName val="0"/>
              <c:showPercent val="0"/>
              <c:showBubbleSize val="0"/>
            </c:dLbl>
            <c:dLbl>
              <c:idx val="12"/>
              <c:tx>
                <c:rich>
                  <a:bodyPr/>
                  <a:lstStyle/>
                  <a:p>
                    <a:r>
                      <a:t>1565.17</a:t>
                    </a:r>
                  </a:p>
                </c:rich>
              </c:tx>
              <c:dLblPos val="t"/>
              <c:showLegendKey val="0"/>
              <c:showVal val="1"/>
              <c:showCatName val="0"/>
              <c:showSerName val="0"/>
              <c:showPercent val="0"/>
              <c:showBubbleSize val="0"/>
            </c:dLbl>
            <c:dLbl>
              <c:idx val="13"/>
              <c:tx>
                <c:rich>
                  <a:bodyPr/>
                  <a:lstStyle/>
                  <a:p>
                    <a:r>
                      <a:t>0.0</a:t>
                    </a:r>
                  </a:p>
                </c:rich>
              </c:tx>
              <c:dLblPos val="t"/>
              <c:showLegendKey val="0"/>
              <c:showVal val="1"/>
              <c:showCatName val="0"/>
              <c:showSerName val="0"/>
              <c:showPercent val="0"/>
              <c:showBubbleSize val="0"/>
            </c:dLbl>
            <c:dLbl>
              <c:idx val="14"/>
              <c:tx>
                <c:rich>
                  <a:bodyPr/>
                  <a:lstStyle/>
                  <a:p>
                    <a:r>
                      <a:t>1215.41</a:t>
                    </a:r>
                  </a:p>
                </c:rich>
              </c:tx>
              <c:dLblPos val="t"/>
              <c:showLegendKey val="0"/>
              <c:showVal val="1"/>
              <c:showCatName val="0"/>
              <c:showSerName val="0"/>
              <c:showPercent val="0"/>
              <c:showBubbleSize val="0"/>
            </c:dLbl>
            <c:dLbl>
              <c:idx val="15"/>
              <c:tx>
                <c:rich>
                  <a:bodyPr/>
                  <a:lstStyle/>
                  <a:p>
                    <a:r>
                      <a:t>547.92</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lvl>
                <c:lvl>
                  <c:pt idx="0">
                    <c:v>No Spray Gel</c:v>
                  </c:pt>
                  <c:pt idx="2">
                    <c:v>No Spray Crema</c:v>
                  </c:pt>
                  <c:pt idx="4">
                    <c:v>No Spray Liquido</c:v>
                  </c:pt>
                  <c:pt idx="6">
                    <c:v>Spray Liquido</c:v>
                  </c:pt>
                  <c:pt idx="8">
                    <c:v>No Spray Gel</c:v>
                  </c:pt>
                  <c:pt idx="10">
                    <c:v>No Spray Crema</c:v>
                  </c:pt>
                  <c:pt idx="12">
                    <c:v>No Spray Gel</c:v>
                  </c:pt>
                  <c:pt idx="14">
                    <c:v>No Spray Liquido</c:v>
                  </c:pt>
                </c:lvl>
                <c:lvl>
                  <c:pt idx="0">
                    <c:v>After Sun Adults</c:v>
                  </c:pt>
                  <c:pt idx="2">
                    <c:v>Sunscreen Adults</c:v>
                  </c:pt>
                  <c:pt idx="10">
                    <c:v>Sunscreen Kids</c:v>
                  </c:pt>
                </c:lvl>
              </c:multiLvlStrCache>
            </c:multiLvlStrRef>
          </c:cat>
          <c:val>
            <c:numRef>
              <c:f>Sheet1!$E$2:$E$17</c:f>
              <c:numCache>
                <c:formatCode>General</c:formatCode>
                <c:ptCount val="16"/>
                <c:pt idx="0">
                  <c:v>571.5165</c:v>
                </c:pt>
                <c:pt idx="1">
                  <c:v>546.5067</c:v>
                </c:pt>
                <c:pt idx="2">
                  <c:v>1439.95</c:v>
                </c:pt>
                <c:pt idx="3">
                  <c:v>1102.468</c:v>
                </c:pt>
                <c:pt idx="4">
                  <c:v>1309.0881</c:v>
                </c:pt>
                <c:pt idx="5">
                  <c:v>1193.872</c:v>
                </c:pt>
                <c:pt idx="6">
                  <c:v>1364.7523</c:v>
                </c:pt>
                <c:pt idx="7">
                  <c:v>1313.8954</c:v>
                </c:pt>
                <c:pt idx="8">
                  <c:v>1360.6511</c:v>
                </c:pt>
                <c:pt idx="9">
                  <c:v>0.0</c:v>
                </c:pt>
                <c:pt idx="10">
                  <c:v>706.3781</c:v>
                </c:pt>
                <c:pt idx="11">
                  <c:v>907.7985</c:v>
                </c:pt>
                <c:pt idx="12">
                  <c:v>1565.1662</c:v>
                </c:pt>
                <c:pt idx="13">
                  <c:v>0.0</c:v>
                </c:pt>
                <c:pt idx="14">
                  <c:v>1215.4095</c:v>
                </c:pt>
                <c:pt idx="15">
                  <c:v>547.917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Pt>
            <c:idx val="4"/>
            <c:spPr>
              <a:solidFill>
                <a:srgbClr val="BCBBBB"/>
              </a:solidFill>
            </c:spPr>
          </c:dPt>
          <c:dPt>
            <c:idx val="6"/>
            <c:spPr>
              <a:solidFill>
                <a:srgbClr val="BCBBBB"/>
              </a:solidFill>
            </c:spPr>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lvl>
                <c:lvl>
                  <c:pt idx="0">
                    <c:v>No Spray Crema</c:v>
                  </c:pt>
                  <c:pt idx="2">
                    <c:v>No Spray Liquido</c:v>
                  </c:pt>
                  <c:pt idx="4">
                    <c:v>No Spray Gel</c:v>
                  </c:pt>
                  <c:pt idx="6">
                    <c:v>Spray Liquido</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D$2:$D$17</c:f>
              <c:numCache>
                <c:formatCode>General</c:formatCode>
                <c:ptCount val="16"/>
                <c:pt idx="0">
                  <c:v>118.4</c:v>
                </c:pt>
                <c:pt idx="1">
                  <c:v>22.8</c:v>
                </c:pt>
                <c:pt idx="2">
                  <c:v>55.1</c:v>
                </c:pt>
                <c:pt idx="3">
                  <c:v>28.0</c:v>
                </c:pt>
                <c:pt idx="4">
                  <c:v>17.9</c:v>
                </c:pt>
                <c:pt idx="5">
                  <c:v>0.0</c:v>
                </c:pt>
                <c:pt idx="6">
                  <c:v>15.6</c:v>
                </c:pt>
                <c:pt idx="7">
                  <c:v>8.8</c:v>
                </c:pt>
                <c:pt idx="8">
                  <c:v>8.6</c:v>
                </c:pt>
                <c:pt idx="9">
                  <c:v>0.1</c:v>
                </c:pt>
                <c:pt idx="10">
                  <c:v>6.1</c:v>
                </c:pt>
                <c:pt idx="11">
                  <c:v>0.9</c:v>
                </c:pt>
                <c:pt idx="12">
                  <c:v>6.0</c:v>
                </c:pt>
                <c:pt idx="13">
                  <c:v>0.1</c:v>
                </c:pt>
                <c:pt idx="14">
                  <c:v>4.6</c:v>
                </c:pt>
                <c:pt idx="15">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59.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08.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63.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34.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729.46</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388.07</a:t>
                    </a:r>
                  </a:p>
                </c:rich>
              </c:tx>
              <c:dLblPos val="t"/>
              <c:showLegendKey val="0"/>
              <c:showVal val="1"/>
              <c:showCatName val="0"/>
              <c:showSerName val="0"/>
              <c:showPercent val="0"/>
              <c:showBubbleSize val="0"/>
            </c:dLbl>
            <c:dLbl>
              <c:idx val="7"/>
              <c:tx>
                <c:rich>
                  <a:bodyPr/>
                  <a:lstStyle/>
                  <a:p>
                    <a:r>
                      <a:t>1279.23</a:t>
                    </a:r>
                  </a:p>
                </c:rich>
              </c:tx>
              <c:dLblPos val="t"/>
              <c:showLegendKey val="0"/>
              <c:showVal val="1"/>
              <c:showCatName val="0"/>
              <c:showSerName val="0"/>
              <c:showPercent val="0"/>
              <c:showBubbleSize val="0"/>
            </c:dLbl>
            <c:dLbl>
              <c:idx val="8"/>
              <c:tx>
                <c:rich>
                  <a:bodyPr/>
                  <a:lstStyle/>
                  <a:p>
                    <a:r>
                      <a:t>11592.53</a:t>
                    </a:r>
                  </a:p>
                </c:rich>
              </c:tx>
              <c:dLblPos val="t"/>
              <c:showLegendKey val="0"/>
              <c:showVal val="1"/>
              <c:showCatName val="0"/>
              <c:showSerName val="0"/>
              <c:showPercent val="0"/>
              <c:showBubbleSize val="0"/>
            </c:dLbl>
            <c:dLbl>
              <c:idx val="9"/>
              <c:tx>
                <c:rich>
                  <a:bodyPr/>
                  <a:lstStyle/>
                  <a:p>
                    <a:r>
                      <a:t>5096.5</a:t>
                    </a:r>
                  </a:p>
                </c:rich>
              </c:tx>
              <c:dLblPos val="t"/>
              <c:showLegendKey val="0"/>
              <c:showVal val="1"/>
              <c:showCatName val="0"/>
              <c:showSerName val="0"/>
              <c:showPercent val="0"/>
              <c:showBubbleSize val="0"/>
            </c:dLbl>
            <c:dLbl>
              <c:idx val="10"/>
              <c:tx>
                <c:rich>
                  <a:bodyPr/>
                  <a:lstStyle/>
                  <a:p>
                    <a:r>
                      <a:t>682.45</a:t>
                    </a:r>
                  </a:p>
                </c:rich>
              </c:tx>
              <c:dLblPos val="t"/>
              <c:showLegendKey val="0"/>
              <c:showVal val="1"/>
              <c:showCatName val="0"/>
              <c:showSerName val="0"/>
              <c:showPercent val="0"/>
              <c:showBubbleSize val="0"/>
            </c:dLbl>
            <c:dLbl>
              <c:idx val="11"/>
              <c:tx>
                <c:rich>
                  <a:bodyPr/>
                  <a:lstStyle/>
                  <a:p>
                    <a:r>
                      <a:t>1070.52</a:t>
                    </a:r>
                  </a:p>
                </c:rich>
              </c:tx>
              <c:dLblPos val="t"/>
              <c:showLegendKey val="0"/>
              <c:showVal val="1"/>
              <c:showCatName val="0"/>
              <c:showSerName val="0"/>
              <c:showPercent val="0"/>
              <c:showBubbleSize val="0"/>
            </c:dLbl>
            <c:dLbl>
              <c:idx val="12"/>
              <c:tx>
                <c:rich>
                  <a:bodyPr/>
                  <a:lstStyle/>
                  <a:p>
                    <a:r>
                      <a:t>1303.13</a:t>
                    </a:r>
                  </a:p>
                </c:rich>
              </c:tx>
              <c:dLblPos val="t"/>
              <c:showLegendKey val="0"/>
              <c:showVal val="1"/>
              <c:showCatName val="0"/>
              <c:showSerName val="0"/>
              <c:showPercent val="0"/>
              <c:showBubbleSize val="0"/>
            </c:dLbl>
            <c:dLbl>
              <c:idx val="13"/>
              <c:tx>
                <c:rich>
                  <a:bodyPr/>
                  <a:lstStyle/>
                  <a:p>
                    <a:r>
                      <a:t>602.37</a:t>
                    </a:r>
                  </a:p>
                </c:rich>
              </c:tx>
              <c:dLblPos val="t"/>
              <c:showLegendKey val="0"/>
              <c:showVal val="1"/>
              <c:showCatName val="0"/>
              <c:showSerName val="0"/>
              <c:showPercent val="0"/>
              <c:showBubbleSize val="0"/>
            </c:dLbl>
            <c:dLbl>
              <c:idx val="14"/>
              <c:tx>
                <c:rich>
                  <a:bodyPr/>
                  <a:lstStyle/>
                  <a:p>
                    <a:r>
                      <a:t>1696.94</a:t>
                    </a:r>
                  </a:p>
                </c:rich>
              </c:tx>
              <c:dLblPos val="t"/>
              <c:showLegendKey val="0"/>
              <c:showVal val="1"/>
              <c:showCatName val="0"/>
              <c:showSerName val="0"/>
              <c:showPercent val="0"/>
              <c:showBubbleSize val="0"/>
            </c:dLbl>
            <c:dLbl>
              <c:idx val="15"/>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lvl>
                <c:lvl>
                  <c:pt idx="0">
                    <c:v>No Spray Crema</c:v>
                  </c:pt>
                  <c:pt idx="2">
                    <c:v>No Spray Liquido</c:v>
                  </c:pt>
                  <c:pt idx="4">
                    <c:v>No Spray Gel</c:v>
                  </c:pt>
                  <c:pt idx="6">
                    <c:v>Spray Liquido</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E$2:$E$17</c:f>
              <c:numCache>
                <c:formatCode>General</c:formatCode>
                <c:ptCount val="16"/>
                <c:pt idx="0">
                  <c:v>1659.42</c:v>
                </c:pt>
                <c:pt idx="1">
                  <c:v>1108.3902</c:v>
                </c:pt>
                <c:pt idx="2">
                  <c:v>1363.1175</c:v>
                </c:pt>
                <c:pt idx="3">
                  <c:v>1234.8165</c:v>
                </c:pt>
                <c:pt idx="4">
                  <c:v>1729.4639</c:v>
                </c:pt>
                <c:pt idx="5">
                  <c:v>0.0</c:v>
                </c:pt>
                <c:pt idx="6">
                  <c:v>1388.0657</c:v>
                </c:pt>
                <c:pt idx="7">
                  <c:v>1279.228</c:v>
                </c:pt>
                <c:pt idx="8">
                  <c:v>11592.5312</c:v>
                </c:pt>
                <c:pt idx="9">
                  <c:v>5096.5</c:v>
                </c:pt>
                <c:pt idx="10">
                  <c:v>682.4479</c:v>
                </c:pt>
                <c:pt idx="11">
                  <c:v>1070.5156</c:v>
                </c:pt>
                <c:pt idx="12">
                  <c:v>1303.1286</c:v>
                </c:pt>
                <c:pt idx="13">
                  <c:v>602.37</c:v>
                </c:pt>
                <c:pt idx="14">
                  <c:v>1696.9402</c:v>
                </c:pt>
                <c:pt idx="15">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Pt>
            <c:idx val="4"/>
            <c:spPr>
              <a:solidFill>
                <a:srgbClr val="BCBBBB"/>
              </a:solidFill>
            </c:spPr>
          </c:dPt>
          <c:dPt>
            <c:idx val="6"/>
            <c:spPr>
              <a:solidFill>
                <a:srgbClr val="BCBBBB"/>
              </a:solidFill>
            </c:spPr>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lvl>
                <c:lvl>
                  <c:pt idx="0">
                    <c:v>No Spray Crema</c:v>
                  </c:pt>
                  <c:pt idx="2">
                    <c:v>No Spray Liquido</c:v>
                  </c:pt>
                  <c:pt idx="4">
                    <c:v>Spray Liquido</c:v>
                  </c:pt>
                  <c:pt idx="6">
                    <c:v>No Spray Gel</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D$2:$D$17</c:f>
              <c:numCache>
                <c:formatCode>General</c:formatCode>
                <c:ptCount val="16"/>
                <c:pt idx="0">
                  <c:v>109.4</c:v>
                </c:pt>
                <c:pt idx="1">
                  <c:v>25.1</c:v>
                </c:pt>
                <c:pt idx="2">
                  <c:v>50.9</c:v>
                </c:pt>
                <c:pt idx="3">
                  <c:v>29.3</c:v>
                </c:pt>
                <c:pt idx="4">
                  <c:v>22.7</c:v>
                </c:pt>
                <c:pt idx="5">
                  <c:v>15.5</c:v>
                </c:pt>
                <c:pt idx="6">
                  <c:v>13.9</c:v>
                </c:pt>
                <c:pt idx="7">
                  <c:v>0.0</c:v>
                </c:pt>
                <c:pt idx="8">
                  <c:v>7.9</c:v>
                </c:pt>
                <c:pt idx="9">
                  <c:v>0.1</c:v>
                </c:pt>
                <c:pt idx="10">
                  <c:v>5.9</c:v>
                </c:pt>
                <c:pt idx="11">
                  <c:v>0.9</c:v>
                </c:pt>
                <c:pt idx="12">
                  <c:v>4.7</c:v>
                </c:pt>
                <c:pt idx="13">
                  <c:v>0.1</c:v>
                </c:pt>
                <c:pt idx="14">
                  <c:v>3.7</c:v>
                </c:pt>
                <c:pt idx="15">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6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2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79.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64.6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479.37</a:t>
                    </a:r>
                  </a:p>
                </c:rich>
              </c:tx>
              <c:dLblPos val="t"/>
              <c:showLegendKey val="0"/>
              <c:showVal val="1"/>
              <c:showCatName val="0"/>
              <c:showSerName val="0"/>
              <c:showPercent val="0"/>
              <c:showBubbleSize val="0"/>
            </c:dLbl>
            <c:dLbl>
              <c:idx val="5"/>
              <c:tx>
                <c:rich>
                  <a:bodyPr/>
                  <a:lstStyle/>
                  <a:p>
                    <a:r>
                      <a:t>1437.91</a:t>
                    </a:r>
                  </a:p>
                </c:rich>
              </c:tx>
              <c:dLblPos val="t"/>
              <c:showLegendKey val="0"/>
              <c:showVal val="1"/>
              <c:showCatName val="0"/>
              <c:showSerName val="0"/>
              <c:showPercent val="0"/>
              <c:showBubbleSize val="0"/>
            </c:dLbl>
            <c:dLbl>
              <c:idx val="6"/>
              <c:tx>
                <c:rich>
                  <a:bodyPr/>
                  <a:lstStyle/>
                  <a:p>
                    <a:r>
                      <a:t>1874.5</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dLbl>
              <c:idx val="8"/>
              <c:tx>
                <c:rich>
                  <a:bodyPr/>
                  <a:lstStyle/>
                  <a:p>
                    <a:r>
                      <a:t>11640.68</a:t>
                    </a:r>
                  </a:p>
                </c:rich>
              </c:tx>
              <c:dLblPos val="t"/>
              <c:showLegendKey val="0"/>
              <c:showVal val="1"/>
              <c:showCatName val="0"/>
              <c:showSerName val="0"/>
              <c:showPercent val="0"/>
              <c:showBubbleSize val="0"/>
            </c:dLbl>
            <c:dLbl>
              <c:idx val="9"/>
              <c:tx>
                <c:rich>
                  <a:bodyPr/>
                  <a:lstStyle/>
                  <a:p>
                    <a:r>
                      <a:t>6429.07</a:t>
                    </a:r>
                  </a:p>
                </c:rich>
              </c:tx>
              <c:dLblPos val="t"/>
              <c:showLegendKey val="0"/>
              <c:showVal val="1"/>
              <c:showCatName val="0"/>
              <c:showSerName val="0"/>
              <c:showPercent val="0"/>
              <c:showBubbleSize val="0"/>
            </c:dLbl>
            <c:dLbl>
              <c:idx val="10"/>
              <c:tx>
                <c:rich>
                  <a:bodyPr/>
                  <a:lstStyle/>
                  <a:p>
                    <a:r>
                      <a:t>699.1</a:t>
                    </a:r>
                  </a:p>
                </c:rich>
              </c:tx>
              <c:dLblPos val="t"/>
              <c:showLegendKey val="0"/>
              <c:showVal val="1"/>
              <c:showCatName val="0"/>
              <c:showSerName val="0"/>
              <c:showPercent val="0"/>
              <c:showBubbleSize val="0"/>
            </c:dLbl>
            <c:dLbl>
              <c:idx val="11"/>
              <c:tx>
                <c:rich>
                  <a:bodyPr/>
                  <a:lstStyle/>
                  <a:p>
                    <a:r>
                      <a:t>1226.73</a:t>
                    </a:r>
                  </a:p>
                </c:rich>
              </c:tx>
              <c:dLblPos val="t"/>
              <c:showLegendKey val="0"/>
              <c:showVal val="1"/>
              <c:showCatName val="0"/>
              <c:showSerName val="0"/>
              <c:showPercent val="0"/>
              <c:showBubbleSize val="0"/>
            </c:dLbl>
            <c:dLbl>
              <c:idx val="12"/>
              <c:tx>
                <c:rich>
                  <a:bodyPr/>
                  <a:lstStyle/>
                  <a:p>
                    <a:r>
                      <a:t>1369.9</a:t>
                    </a:r>
                  </a:p>
                </c:rich>
              </c:tx>
              <c:dLblPos val="t"/>
              <c:showLegendKey val="0"/>
              <c:showVal val="1"/>
              <c:showCatName val="0"/>
              <c:showSerName val="0"/>
              <c:showPercent val="0"/>
              <c:showBubbleSize val="0"/>
            </c:dLbl>
            <c:dLbl>
              <c:idx val="13"/>
              <c:tx>
                <c:rich>
                  <a:bodyPr/>
                  <a:lstStyle/>
                  <a:p>
                    <a:r>
                      <a:t>665.12</a:t>
                    </a:r>
                  </a:p>
                </c:rich>
              </c:tx>
              <c:dLblPos val="t"/>
              <c:showLegendKey val="0"/>
              <c:showVal val="1"/>
              <c:showCatName val="0"/>
              <c:showSerName val="0"/>
              <c:showPercent val="0"/>
              <c:showBubbleSize val="0"/>
            </c:dLbl>
            <c:dLbl>
              <c:idx val="14"/>
              <c:tx>
                <c:rich>
                  <a:bodyPr/>
                  <a:lstStyle/>
                  <a:p>
                    <a:r>
                      <a:t>1774.97</a:t>
                    </a:r>
                  </a:p>
                </c:rich>
              </c:tx>
              <c:dLblPos val="t"/>
              <c:showLegendKey val="0"/>
              <c:showVal val="1"/>
              <c:showCatName val="0"/>
              <c:showSerName val="0"/>
              <c:showPercent val="0"/>
              <c:showBubbleSize val="0"/>
            </c:dLbl>
            <c:dLbl>
              <c:idx val="15"/>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lvl>
                <c:lvl>
                  <c:pt idx="0">
                    <c:v>No Spray Crema</c:v>
                  </c:pt>
                  <c:pt idx="2">
                    <c:v>No Spray Liquido</c:v>
                  </c:pt>
                  <c:pt idx="4">
                    <c:v>Spray Liquido</c:v>
                  </c:pt>
                  <c:pt idx="6">
                    <c:v>No Spray Gel</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E$2:$E$17</c:f>
              <c:numCache>
                <c:formatCode>General</c:formatCode>
                <c:ptCount val="16"/>
                <c:pt idx="0">
                  <c:v>1665.6965</c:v>
                </c:pt>
                <c:pt idx="1">
                  <c:v>1127.3041</c:v>
                </c:pt>
                <c:pt idx="2">
                  <c:v>1379.461</c:v>
                </c:pt>
                <c:pt idx="3">
                  <c:v>1264.6217</c:v>
                </c:pt>
                <c:pt idx="4">
                  <c:v>1479.3656</c:v>
                </c:pt>
                <c:pt idx="5">
                  <c:v>1437.9057</c:v>
                </c:pt>
                <c:pt idx="6">
                  <c:v>1874.4972</c:v>
                </c:pt>
                <c:pt idx="7">
                  <c:v>0.0</c:v>
                </c:pt>
                <c:pt idx="8">
                  <c:v>11640.683</c:v>
                </c:pt>
                <c:pt idx="9">
                  <c:v>6429.0714</c:v>
                </c:pt>
                <c:pt idx="10">
                  <c:v>699.103</c:v>
                </c:pt>
                <c:pt idx="11">
                  <c:v>1226.7301</c:v>
                </c:pt>
                <c:pt idx="12">
                  <c:v>1369.9003</c:v>
                </c:pt>
                <c:pt idx="13">
                  <c:v>665.1183</c:v>
                </c:pt>
                <c:pt idx="14">
                  <c:v>1774.9658</c:v>
                </c:pt>
                <c:pt idx="15">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Pt>
            <c:idx val="4"/>
            <c:spPr>
              <a:solidFill>
                <a:srgbClr val="BCBBBB"/>
              </a:solidFill>
            </c:spPr>
          </c:dPt>
          <c:dPt>
            <c:idx val="6"/>
            <c:spPr>
              <a:solidFill>
                <a:srgbClr val="BCBBBB"/>
              </a:solidFill>
            </c:spPr>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lvl>
                <c:lvl>
                  <c:pt idx="0">
                    <c:v>No Spray Crema</c:v>
                  </c:pt>
                  <c:pt idx="2">
                    <c:v>No Spray Liquido</c:v>
                  </c:pt>
                  <c:pt idx="4">
                    <c:v>Spray Liquido</c:v>
                  </c:pt>
                  <c:pt idx="6">
                    <c:v>No Spray Gel</c:v>
                  </c:pt>
                  <c:pt idx="8">
                    <c:v>No Spray Fluido</c:v>
                  </c:pt>
                  <c:pt idx="10">
                    <c:v>No Spray Liquido</c:v>
                  </c:pt>
                  <c:pt idx="12">
                    <c:v>No Spray Crema</c:v>
                  </c:pt>
                  <c:pt idx="14">
                    <c:v>No Spray Gel</c:v>
                  </c:pt>
                </c:lvl>
                <c:lvl>
                  <c:pt idx="0">
                    <c:v>Sunscreen Adults</c:v>
                  </c:pt>
                  <c:pt idx="10">
                    <c:v>Sunscreen Kids</c:v>
                  </c:pt>
                </c:lvl>
              </c:multiLvlStrCache>
            </c:multiLvlStrRef>
          </c:cat>
          <c:val>
            <c:numRef>
              <c:f>Sheet1!$D$2:$D$17</c:f>
              <c:numCache>
                <c:formatCode>General</c:formatCode>
                <c:ptCount val="16"/>
                <c:pt idx="0">
                  <c:v>74.6</c:v>
                </c:pt>
                <c:pt idx="1">
                  <c:v>16.6</c:v>
                </c:pt>
                <c:pt idx="2">
                  <c:v>40.1</c:v>
                </c:pt>
                <c:pt idx="3">
                  <c:v>18.7</c:v>
                </c:pt>
                <c:pt idx="4">
                  <c:v>23.6</c:v>
                </c:pt>
                <c:pt idx="5">
                  <c:v>16.6</c:v>
                </c:pt>
                <c:pt idx="6">
                  <c:v>10.1</c:v>
                </c:pt>
                <c:pt idx="7">
                  <c:v>0.0</c:v>
                </c:pt>
                <c:pt idx="8">
                  <c:v>3.8</c:v>
                </c:pt>
                <c:pt idx="9">
                  <c:v>0.1</c:v>
                </c:pt>
                <c:pt idx="10">
                  <c:v>4.2</c:v>
                </c:pt>
                <c:pt idx="11">
                  <c:v>0.1</c:v>
                </c:pt>
                <c:pt idx="12">
                  <c:v>3.4</c:v>
                </c:pt>
                <c:pt idx="13">
                  <c:v>0.7</c:v>
                </c:pt>
                <c:pt idx="14">
                  <c:v>3.1</c:v>
                </c:pt>
                <c:pt idx="15">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78.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28.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8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80.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451.22</a:t>
                    </a:r>
                  </a:p>
                </c:rich>
              </c:tx>
              <c:dLblPos val="t"/>
              <c:showLegendKey val="0"/>
              <c:showVal val="1"/>
              <c:showCatName val="0"/>
              <c:showSerName val="0"/>
              <c:showPercent val="0"/>
              <c:showBubbleSize val="0"/>
            </c:dLbl>
            <c:dLbl>
              <c:idx val="5"/>
              <c:tx>
                <c:rich>
                  <a:bodyPr/>
                  <a:lstStyle/>
                  <a:p>
                    <a:r>
                      <a:t>1419.96</a:t>
                    </a:r>
                  </a:p>
                </c:rich>
              </c:tx>
              <c:dLblPos val="t"/>
              <c:showLegendKey val="0"/>
              <c:showVal val="1"/>
              <c:showCatName val="0"/>
              <c:showSerName val="0"/>
              <c:showPercent val="0"/>
              <c:showBubbleSize val="0"/>
            </c:dLbl>
            <c:dLbl>
              <c:idx val="6"/>
              <c:tx>
                <c:rich>
                  <a:bodyPr/>
                  <a:lstStyle/>
                  <a:p>
                    <a:r>
                      <a:t>1658.92</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dLbl>
              <c:idx val="8"/>
              <c:tx>
                <c:rich>
                  <a:bodyPr/>
                  <a:lstStyle/>
                  <a:p>
                    <a:r>
                      <a:t>11328.66</a:t>
                    </a:r>
                  </a:p>
                </c:rich>
              </c:tx>
              <c:dLblPos val="t"/>
              <c:showLegendKey val="0"/>
              <c:showVal val="1"/>
              <c:showCatName val="0"/>
              <c:showSerName val="0"/>
              <c:showPercent val="0"/>
              <c:showBubbleSize val="0"/>
            </c:dLbl>
            <c:dLbl>
              <c:idx val="9"/>
              <c:tx>
                <c:rich>
                  <a:bodyPr/>
                  <a:lstStyle/>
                  <a:p>
                    <a:r>
                      <a:t>6206.09</a:t>
                    </a:r>
                  </a:p>
                </c:rich>
              </c:tx>
              <c:dLblPos val="t"/>
              <c:showLegendKey val="0"/>
              <c:showVal val="1"/>
              <c:showCatName val="0"/>
              <c:showSerName val="0"/>
              <c:showPercent val="0"/>
              <c:showBubbleSize val="0"/>
            </c:dLbl>
            <c:dLbl>
              <c:idx val="10"/>
              <c:tx>
                <c:rich>
                  <a:bodyPr/>
                  <a:lstStyle/>
                  <a:p>
                    <a:r>
                      <a:t>1343.6</a:t>
                    </a:r>
                  </a:p>
                </c:rich>
              </c:tx>
              <c:dLblPos val="t"/>
              <c:showLegendKey val="0"/>
              <c:showVal val="1"/>
              <c:showCatName val="0"/>
              <c:showSerName val="0"/>
              <c:showPercent val="0"/>
              <c:showBubbleSize val="0"/>
            </c:dLbl>
            <c:dLbl>
              <c:idx val="11"/>
              <c:tx>
                <c:rich>
                  <a:bodyPr/>
                  <a:lstStyle/>
                  <a:p>
                    <a:r>
                      <a:t>545.49</a:t>
                    </a:r>
                  </a:p>
                </c:rich>
              </c:tx>
              <c:dLblPos val="t"/>
              <c:showLegendKey val="0"/>
              <c:showVal val="1"/>
              <c:showCatName val="0"/>
              <c:showSerName val="0"/>
              <c:showPercent val="0"/>
              <c:showBubbleSize val="0"/>
            </c:dLbl>
            <c:dLbl>
              <c:idx val="12"/>
              <c:tx>
                <c:rich>
                  <a:bodyPr/>
                  <a:lstStyle/>
                  <a:p>
                    <a:r>
                      <a:t>727.51</a:t>
                    </a:r>
                  </a:p>
                </c:rich>
              </c:tx>
              <c:dLblPos val="t"/>
              <c:showLegendKey val="0"/>
              <c:showVal val="1"/>
              <c:showCatName val="0"/>
              <c:showSerName val="0"/>
              <c:showPercent val="0"/>
              <c:showBubbleSize val="0"/>
            </c:dLbl>
            <c:dLbl>
              <c:idx val="13"/>
              <c:tx>
                <c:rich>
                  <a:bodyPr/>
                  <a:lstStyle/>
                  <a:p>
                    <a:r>
                      <a:t>1102.77</a:t>
                    </a:r>
                  </a:p>
                </c:rich>
              </c:tx>
              <c:dLblPos val="t"/>
              <c:showLegendKey val="0"/>
              <c:showVal val="1"/>
              <c:showCatName val="0"/>
              <c:showSerName val="0"/>
              <c:showPercent val="0"/>
              <c:showBubbleSize val="0"/>
            </c:dLbl>
            <c:dLbl>
              <c:idx val="14"/>
              <c:tx>
                <c:rich>
                  <a:bodyPr/>
                  <a:lstStyle/>
                  <a:p>
                    <a:r>
                      <a:t>1811.1</a:t>
                    </a:r>
                  </a:p>
                </c:rich>
              </c:tx>
              <c:dLblPos val="t"/>
              <c:showLegendKey val="0"/>
              <c:showVal val="1"/>
              <c:showCatName val="0"/>
              <c:showSerName val="0"/>
              <c:showPercent val="0"/>
              <c:showBubbleSize val="0"/>
            </c:dLbl>
            <c:dLbl>
              <c:idx val="15"/>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Edgewell</c:v>
                  </c:pt>
                  <c:pt idx="2">
                    <c:v>Total</c:v>
                  </c:pt>
                  <c:pt idx="3">
                    <c:v>Edgewell</c:v>
                  </c:pt>
                  <c:pt idx="4">
                    <c:v>Total</c:v>
                  </c:pt>
                  <c:pt idx="5">
                    <c:v>Edgewell</c:v>
                  </c:pt>
                  <c:pt idx="6">
                    <c:v>Total</c:v>
                  </c:pt>
                  <c:pt idx="7">
                    <c:v>Edgewell</c:v>
                  </c:pt>
                  <c:pt idx="8">
                    <c:v>Total</c:v>
                  </c:pt>
                  <c:pt idx="9">
                    <c:v>Edgewell</c:v>
                  </c:pt>
                  <c:pt idx="10">
                    <c:v>Total</c:v>
                  </c:pt>
                  <c:pt idx="11">
                    <c:v>Edgewell</c:v>
                  </c:pt>
                  <c:pt idx="12">
                    <c:v>Total</c:v>
                  </c:pt>
                  <c:pt idx="13">
                    <c:v>Edgewell</c:v>
                  </c:pt>
                  <c:pt idx="14">
                    <c:v>Total</c:v>
                  </c:pt>
                  <c:pt idx="15">
                    <c:v>Edgewell</c:v>
                  </c:pt>
                </c:lvl>
                <c:lvl>
                  <c:pt idx="0">
                    <c:v>No Spray Crema</c:v>
                  </c:pt>
                  <c:pt idx="2">
                    <c:v>No Spray Liquido</c:v>
                  </c:pt>
                  <c:pt idx="4">
                    <c:v>Spray Liquido</c:v>
                  </c:pt>
                  <c:pt idx="6">
                    <c:v>No Spray Gel</c:v>
                  </c:pt>
                  <c:pt idx="8">
                    <c:v>No Spray Fluido</c:v>
                  </c:pt>
                  <c:pt idx="10">
                    <c:v>No Spray Liquido</c:v>
                  </c:pt>
                  <c:pt idx="12">
                    <c:v>No Spray Crema</c:v>
                  </c:pt>
                  <c:pt idx="14">
                    <c:v>No Spray Gel</c:v>
                  </c:pt>
                </c:lvl>
                <c:lvl>
                  <c:pt idx="0">
                    <c:v>Sunscreen Adults</c:v>
                  </c:pt>
                  <c:pt idx="10">
                    <c:v>Sunscreen Kids</c:v>
                  </c:pt>
                </c:lvl>
              </c:multiLvlStrCache>
            </c:multiLvlStrRef>
          </c:cat>
          <c:val>
            <c:numRef>
              <c:f>Sheet1!$E$2:$E$17</c:f>
              <c:numCache>
                <c:formatCode>General</c:formatCode>
                <c:ptCount val="16"/>
                <c:pt idx="0">
                  <c:v>1678.1269</c:v>
                </c:pt>
                <c:pt idx="1">
                  <c:v>1128.1296</c:v>
                </c:pt>
                <c:pt idx="2">
                  <c:v>1384.8006</c:v>
                </c:pt>
                <c:pt idx="3">
                  <c:v>1280.0268</c:v>
                </c:pt>
                <c:pt idx="4">
                  <c:v>1451.2198</c:v>
                </c:pt>
                <c:pt idx="5">
                  <c:v>1419.9635</c:v>
                </c:pt>
                <c:pt idx="6">
                  <c:v>1658.9194</c:v>
                </c:pt>
                <c:pt idx="7">
                  <c:v>0.0</c:v>
                </c:pt>
                <c:pt idx="8">
                  <c:v>11328.6557</c:v>
                </c:pt>
                <c:pt idx="9">
                  <c:v>6206.0909</c:v>
                </c:pt>
                <c:pt idx="10">
                  <c:v>1343.6047</c:v>
                </c:pt>
                <c:pt idx="11">
                  <c:v>545.4946</c:v>
                </c:pt>
                <c:pt idx="12">
                  <c:v>727.5068</c:v>
                </c:pt>
                <c:pt idx="13">
                  <c:v>1102.7679</c:v>
                </c:pt>
                <c:pt idx="14">
                  <c:v>1811.1011</c:v>
                </c:pt>
                <c:pt idx="15">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E8737F8-5805-4954-BFE3-713AC2ACF5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E913CF0-3CA2-4EFD-99A4-C7AEC90882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4A00379-7049-4675-B891-233294AAA9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58895C6-CDCE-417A-9A9F-DCC9A534A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B08CCD0-0603-4A25-A8E0-C4E486A5D8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E1874E0-77F2-49E8-8A3C-367ADC4B08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364B840-4C1B-4B6C-9A68-06A530586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FE5C7B8-3598-4594-B9C2-EF3094B0D5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9.6053</c:v>
                </c:pt>
                <c:pt idx="1">
                  <c:v>218.0452</c:v>
                </c:pt>
                <c:pt idx="2">
                  <c:v>224.1871</c:v>
                </c:pt>
                <c:pt idx="3">
                  <c:v>280.3714</c:v>
                </c:pt>
                <c:pt idx="4">
                  <c:v>86.5805</c:v>
                </c:pt>
                <c:pt idx="5">
                  <c:v>605.0969</c:v>
                </c:pt>
                <c:pt idx="6">
                  <c:v>291.0607</c:v>
                </c:pt>
                <c:pt idx="7">
                  <c:v>156.0933</c:v>
                </c:pt>
              </c:numCache>
            </c:numRef>
          </c:xVal>
          <c:yVal>
            <c:numRef>
              <c:f>Sheet1!$B$2:$B$9</c:f>
              <c:numCache>
                <c:formatCode>General</c:formatCode>
                <c:ptCount val="8"/>
                <c:pt idx="0">
                  <c:v>1.147</c:v>
                </c:pt>
                <c:pt idx="1">
                  <c:v>0.845</c:v>
                </c:pt>
                <c:pt idx="2">
                  <c:v>0.849</c:v>
                </c:pt>
                <c:pt idx="3">
                  <c:v>2.176</c:v>
                </c:pt>
                <c:pt idx="4">
                  <c:v>0.479</c:v>
                </c:pt>
                <c:pt idx="5">
                  <c:v>5.171</c:v>
                </c:pt>
                <c:pt idx="6">
                  <c:v>1.124</c:v>
                </c:pt>
                <c:pt idx="7">
                  <c:v>2.34</c:v>
                </c:pt>
              </c:numCache>
            </c:numRef>
          </c:yVal>
          <c:bubbleSize>
            <c:numRef>
              <c:f>Sheet1!$C$2:$C$9</c:f>
              <c:numCache>
                <c:formatCode>General</c:formatCode>
                <c:ptCount val="8"/>
                <c:pt idx="0">
                  <c:v>110924561</c:v>
                </c:pt>
                <c:pt idx="1">
                  <c:v>51770699</c:v>
                </c:pt>
                <c:pt idx="2">
                  <c:v>35419541</c:v>
                </c:pt>
                <c:pt idx="3">
                  <c:v>13224280</c:v>
                </c:pt>
                <c:pt idx="4">
                  <c:v>10297880</c:v>
                </c:pt>
                <c:pt idx="5">
                  <c:v>3786091</c:v>
                </c:pt>
                <c:pt idx="6">
                  <c:v>3723830</c:v>
                </c:pt>
                <c:pt idx="7">
                  <c:v>223447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6.0"/>
          <c:min val="69.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CFF672E9-BF62-40FA-92BC-B0B38403D4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32421698-6E76-4E9D-A59F-F6A878724B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DF43C428-EFE3-49E3-95EB-636A16E72B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A5D604E3-A516-4BBE-A36A-676D821BBD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3951313F-7F3F-44D5-891B-61454E71E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1503FD80-7650-41A8-98FE-3D5D815924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F3D7FB2B-BFF8-4B69-B894-8EF78BAC3B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63A5BA7D-8520-4030-A97E-F0E8E2690A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10.5</c:v>
                </c:pt>
                <c:pt idx="1">
                  <c:v>270.6892</c:v>
                </c:pt>
                <c:pt idx="2">
                  <c:v>504.2633</c:v>
                </c:pt>
                <c:pt idx="3">
                  <c:v>542.4038</c:v>
                </c:pt>
                <c:pt idx="4">
                  <c:v>169.7456</c:v>
                </c:pt>
                <c:pt idx="5">
                  <c:v>852.3421</c:v>
                </c:pt>
              </c:numCache>
            </c:numRef>
          </c:xVal>
          <c:yVal>
            <c:numRef>
              <c:f>Sheet1!$B$2:$B$7</c:f>
              <c:numCache>
                <c:formatCode>General</c:formatCode>
                <c:ptCount val="6"/>
                <c:pt idx="0">
                  <c:v>4.59</c:v>
                </c:pt>
                <c:pt idx="1">
                  <c:v>0.716</c:v>
                </c:pt>
                <c:pt idx="2">
                  <c:v>2.9</c:v>
                </c:pt>
                <c:pt idx="3">
                  <c:v>10.905</c:v>
                </c:pt>
                <c:pt idx="4">
                  <c:v>0.365</c:v>
                </c:pt>
                <c:pt idx="5">
                  <c:v>0.0</c:v>
                </c:pt>
              </c:numCache>
            </c:numRef>
          </c:yVal>
          <c:bubbleSize>
            <c:numRef>
              <c:f>Sheet1!$C$2:$C$7</c:f>
              <c:numCache>
                <c:formatCode>General</c:formatCode>
                <c:ptCount val="6"/>
                <c:pt idx="0">
                  <c:v>484737</c:v>
                </c:pt>
                <c:pt idx="1">
                  <c:v>296134</c:v>
                </c:pt>
                <c:pt idx="2">
                  <c:v>237508</c:v>
                </c:pt>
                <c:pt idx="3">
                  <c:v>141025</c:v>
                </c:pt>
                <c:pt idx="4">
                  <c:v>48038</c:v>
                </c:pt>
                <c:pt idx="5">
                  <c:v>3238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23.0"/>
          <c:min val="136.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Pt>
            <c:idx val="4"/>
            <c:spPr>
              <a:solidFill>
                <a:srgbClr val="BCBBBB"/>
              </a:solidFill>
            </c:spPr>
          </c:dPt>
          <c:dPt>
            <c:idx val="6"/>
            <c:spPr>
              <a:solidFill>
                <a:srgbClr val="BCBBBB"/>
              </a:solidFill>
            </c:spPr>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lvl>
                <c:lvl>
                  <c:pt idx="0">
                    <c:v>No Spray Crema</c:v>
                  </c:pt>
                  <c:pt idx="2">
                    <c:v>No Spray Liquido</c:v>
                  </c:pt>
                  <c:pt idx="4">
                    <c:v>Spray Liquido</c:v>
                  </c:pt>
                  <c:pt idx="6">
                    <c:v>No Spray Gel</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D$2:$D$17</c:f>
              <c:numCache>
                <c:formatCode>General</c:formatCode>
                <c:ptCount val="16"/>
                <c:pt idx="0">
                  <c:v>712.9</c:v>
                </c:pt>
                <c:pt idx="1">
                  <c:v>72.4</c:v>
                </c:pt>
                <c:pt idx="2">
                  <c:v>331.7</c:v>
                </c:pt>
                <c:pt idx="3">
                  <c:v>133.8</c:v>
                </c:pt>
                <c:pt idx="4">
                  <c:v>124.4</c:v>
                </c:pt>
                <c:pt idx="5">
                  <c:v>39.5</c:v>
                </c:pt>
                <c:pt idx="6">
                  <c:v>102.2</c:v>
                </c:pt>
                <c:pt idx="7">
                  <c:v>0.0</c:v>
                </c:pt>
                <c:pt idx="8">
                  <c:v>54.3</c:v>
                </c:pt>
                <c:pt idx="9">
                  <c:v>0.0</c:v>
                </c:pt>
                <c:pt idx="10">
                  <c:v>34.5</c:v>
                </c:pt>
                <c:pt idx="11">
                  <c:v>0.0</c:v>
                </c:pt>
                <c:pt idx="12">
                  <c:v>32.3</c:v>
                </c:pt>
                <c:pt idx="13">
                  <c:v>0.5</c:v>
                </c:pt>
                <c:pt idx="14">
                  <c:v>26.1</c:v>
                </c:pt>
                <c:pt idx="15">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740.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61.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6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95.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412.98</a:t>
                    </a:r>
                  </a:p>
                </c:rich>
              </c:tx>
              <c:dLblPos val="t"/>
              <c:showLegendKey val="0"/>
              <c:showVal val="1"/>
              <c:showCatName val="0"/>
              <c:showSerName val="0"/>
              <c:showPercent val="0"/>
              <c:showBubbleSize val="0"/>
            </c:dLbl>
            <c:dLbl>
              <c:idx val="5"/>
              <c:tx>
                <c:rich>
                  <a:bodyPr/>
                  <a:lstStyle/>
                  <a:p>
                    <a:r>
                      <a:t>1405.08</a:t>
                    </a:r>
                  </a:p>
                </c:rich>
              </c:tx>
              <c:dLblPos val="t"/>
              <c:showLegendKey val="0"/>
              <c:showVal val="1"/>
              <c:showCatName val="0"/>
              <c:showSerName val="0"/>
              <c:showPercent val="0"/>
              <c:showBubbleSize val="0"/>
            </c:dLbl>
            <c:dLbl>
              <c:idx val="6"/>
              <c:tx>
                <c:rich>
                  <a:bodyPr/>
                  <a:lstStyle/>
                  <a:p>
                    <a:r>
                      <a:t>1747.7</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dLbl>
              <c:idx val="8"/>
              <c:tx>
                <c:rich>
                  <a:bodyPr/>
                  <a:lstStyle/>
                  <a:p>
                    <a:r>
                      <a:t>10745.72</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dLbl>
              <c:idx val="10"/>
              <c:tx>
                <c:rich>
                  <a:bodyPr/>
                  <a:lstStyle/>
                  <a:p>
                    <a:r>
                      <a:t>696.44</a:t>
                    </a:r>
                  </a:p>
                </c:rich>
              </c:tx>
              <c:dLblPos val="t"/>
              <c:showLegendKey val="0"/>
              <c:showVal val="1"/>
              <c:showCatName val="0"/>
              <c:showSerName val="0"/>
              <c:showPercent val="0"/>
              <c:showBubbleSize val="0"/>
            </c:dLbl>
            <c:dLbl>
              <c:idx val="11"/>
              <c:tx>
                <c:rich>
                  <a:bodyPr/>
                  <a:lstStyle/>
                  <a:p>
                    <a:r>
                      <a:t>0.0</a:t>
                    </a:r>
                  </a:p>
                </c:rich>
              </c:tx>
              <c:dLblPos val="t"/>
              <c:showLegendKey val="0"/>
              <c:showVal val="1"/>
              <c:showCatName val="0"/>
              <c:showSerName val="0"/>
              <c:showPercent val="0"/>
              <c:showBubbleSize val="0"/>
            </c:dLbl>
            <c:dLbl>
              <c:idx val="12"/>
              <c:tx>
                <c:rich>
                  <a:bodyPr/>
                  <a:lstStyle/>
                  <a:p>
                    <a:r>
                      <a:t>1315.27</a:t>
                    </a:r>
                  </a:p>
                </c:rich>
              </c:tx>
              <c:dLblPos val="t"/>
              <c:showLegendKey val="0"/>
              <c:showVal val="1"/>
              <c:showCatName val="0"/>
              <c:showSerName val="0"/>
              <c:showPercent val="0"/>
              <c:showBubbleSize val="0"/>
            </c:dLbl>
            <c:dLbl>
              <c:idx val="13"/>
              <c:tx>
                <c:rich>
                  <a:bodyPr/>
                  <a:lstStyle/>
                  <a:p>
                    <a:r>
                      <a:t>589.35</a:t>
                    </a:r>
                  </a:p>
                </c:rich>
              </c:tx>
              <c:dLblPos val="t"/>
              <c:showLegendKey val="0"/>
              <c:showVal val="1"/>
              <c:showCatName val="0"/>
              <c:showSerName val="0"/>
              <c:showPercent val="0"/>
              <c:showBubbleSize val="0"/>
            </c:dLbl>
            <c:dLbl>
              <c:idx val="14"/>
              <c:tx>
                <c:rich>
                  <a:bodyPr/>
                  <a:lstStyle/>
                  <a:p>
                    <a:r>
                      <a:t>1694.59</a:t>
                    </a:r>
                  </a:p>
                </c:rich>
              </c:tx>
              <c:dLblPos val="t"/>
              <c:showLegendKey val="0"/>
              <c:showVal val="1"/>
              <c:showCatName val="0"/>
              <c:showSerName val="0"/>
              <c:showPercent val="0"/>
              <c:showBubbleSize val="0"/>
            </c:dLbl>
            <c:dLbl>
              <c:idx val="15"/>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lvl>
                <c:lvl>
                  <c:pt idx="0">
                    <c:v>No Spray Crema</c:v>
                  </c:pt>
                  <c:pt idx="2">
                    <c:v>No Spray Liquido</c:v>
                  </c:pt>
                  <c:pt idx="4">
                    <c:v>Spray Liquido</c:v>
                  </c:pt>
                  <c:pt idx="6">
                    <c:v>No Spray Gel</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E$2:$E$17</c:f>
              <c:numCache>
                <c:formatCode>General</c:formatCode>
                <c:ptCount val="16"/>
                <c:pt idx="0">
                  <c:v>1740.6312</c:v>
                </c:pt>
                <c:pt idx="1">
                  <c:v>1161.8338</c:v>
                </c:pt>
                <c:pt idx="2">
                  <c:v>1363.8256</c:v>
                </c:pt>
                <c:pt idx="3">
                  <c:v>1195.0743</c:v>
                </c:pt>
                <c:pt idx="4">
                  <c:v>1412.978</c:v>
                </c:pt>
                <c:pt idx="5">
                  <c:v>1405.0829</c:v>
                </c:pt>
                <c:pt idx="6">
                  <c:v>1747.7024</c:v>
                </c:pt>
                <c:pt idx="7">
                  <c:v>0.0</c:v>
                </c:pt>
                <c:pt idx="8">
                  <c:v>10745.7167</c:v>
                </c:pt>
                <c:pt idx="9">
                  <c:v>0.0</c:v>
                </c:pt>
                <c:pt idx="10">
                  <c:v>696.4399</c:v>
                </c:pt>
                <c:pt idx="11">
                  <c:v>0.0</c:v>
                </c:pt>
                <c:pt idx="12">
                  <c:v>1315.2692</c:v>
                </c:pt>
                <c:pt idx="13">
                  <c:v>589.3522</c:v>
                </c:pt>
                <c:pt idx="14">
                  <c:v>1694.5946</c:v>
                </c:pt>
                <c:pt idx="15">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Pt>
            <c:idx val="4"/>
            <c:spPr>
              <a:solidFill>
                <a:srgbClr val="BCBBBB"/>
              </a:solidFill>
            </c:spPr>
          </c:dPt>
          <c:dPt>
            <c:idx val="6"/>
            <c:spPr>
              <a:solidFill>
                <a:srgbClr val="BCBBBB"/>
              </a:solidFill>
            </c:spPr>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lvl>
                <c:lvl>
                  <c:pt idx="0">
                    <c:v>No Spray Crema</c:v>
                  </c:pt>
                  <c:pt idx="2">
                    <c:v>No Spray Liquido</c:v>
                  </c:pt>
                  <c:pt idx="4">
                    <c:v>No Spray Gel</c:v>
                  </c:pt>
                  <c:pt idx="6">
                    <c:v>Spray Liquido</c:v>
                  </c:pt>
                  <c:pt idx="8">
                    <c:v>No Spray Fluido</c:v>
                  </c:pt>
                  <c:pt idx="10">
                    <c:v>No Spray Liquido</c:v>
                  </c:pt>
                  <c:pt idx="12">
                    <c:v>No Spray Crema</c:v>
                  </c:pt>
                  <c:pt idx="14">
                    <c:v>No Spray Gel</c:v>
                  </c:pt>
                </c:lvl>
                <c:lvl>
                  <c:pt idx="0">
                    <c:v>Sunscreen Adults</c:v>
                  </c:pt>
                  <c:pt idx="10">
                    <c:v>Sunscreen Kids</c:v>
                  </c:pt>
                </c:lvl>
              </c:multiLvlStrCache>
            </c:multiLvlStrRef>
          </c:cat>
          <c:val>
            <c:numRef>
              <c:f>Sheet1!$D$2:$D$17</c:f>
              <c:numCache>
                <c:formatCode>General</c:formatCode>
                <c:ptCount val="16"/>
                <c:pt idx="0">
                  <c:v>163.0</c:v>
                </c:pt>
                <c:pt idx="1">
                  <c:v>16.1</c:v>
                </c:pt>
                <c:pt idx="2">
                  <c:v>75.7</c:v>
                </c:pt>
                <c:pt idx="3">
                  <c:v>32.6</c:v>
                </c:pt>
                <c:pt idx="4">
                  <c:v>21.9</c:v>
                </c:pt>
                <c:pt idx="5">
                  <c:v>0.0</c:v>
                </c:pt>
                <c:pt idx="6">
                  <c:v>18.9</c:v>
                </c:pt>
                <c:pt idx="7">
                  <c:v>5.4</c:v>
                </c:pt>
                <c:pt idx="8">
                  <c:v>10.7</c:v>
                </c:pt>
                <c:pt idx="9">
                  <c:v>0.0</c:v>
                </c:pt>
                <c:pt idx="10">
                  <c:v>7.3</c:v>
                </c:pt>
                <c:pt idx="11">
                  <c:v>0.2</c:v>
                </c:pt>
                <c:pt idx="12">
                  <c:v>6.7</c:v>
                </c:pt>
                <c:pt idx="13">
                  <c:v>0.0</c:v>
                </c:pt>
                <c:pt idx="14">
                  <c:v>4.9</c:v>
                </c:pt>
                <c:pt idx="15">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78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66.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82.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26.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743.63</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380.8</a:t>
                    </a:r>
                  </a:p>
                </c:rich>
              </c:tx>
              <c:dLblPos val="t"/>
              <c:showLegendKey val="0"/>
              <c:showVal val="1"/>
              <c:showCatName val="0"/>
              <c:showSerName val="0"/>
              <c:showPercent val="0"/>
              <c:showBubbleSize val="0"/>
            </c:dLbl>
            <c:dLbl>
              <c:idx val="7"/>
              <c:tx>
                <c:rich>
                  <a:bodyPr/>
                  <a:lstStyle/>
                  <a:p>
                    <a:r>
                      <a:t>1378.82</a:t>
                    </a:r>
                  </a:p>
                </c:rich>
              </c:tx>
              <c:dLblPos val="t"/>
              <c:showLegendKey val="0"/>
              <c:showVal val="1"/>
              <c:showCatName val="0"/>
              <c:showSerName val="0"/>
              <c:showPercent val="0"/>
              <c:showBubbleSize val="0"/>
            </c:dLbl>
            <c:dLbl>
              <c:idx val="8"/>
              <c:tx>
                <c:rich>
                  <a:bodyPr/>
                  <a:lstStyle/>
                  <a:p>
                    <a:r>
                      <a:t>10299.24</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dLbl>
              <c:idx val="10"/>
              <c:tx>
                <c:rich>
                  <a:bodyPr/>
                  <a:lstStyle/>
                  <a:p>
                    <a:r>
                      <a:t>1301.42</a:t>
                    </a:r>
                  </a:p>
                </c:rich>
              </c:tx>
              <c:dLblPos val="t"/>
              <c:showLegendKey val="0"/>
              <c:showVal val="1"/>
              <c:showCatName val="0"/>
              <c:showSerName val="0"/>
              <c:showPercent val="0"/>
              <c:showBubbleSize val="0"/>
            </c:dLbl>
            <c:dLbl>
              <c:idx val="11"/>
              <c:tx>
                <c:rich>
                  <a:bodyPr/>
                  <a:lstStyle/>
                  <a:p>
                    <a:r>
                      <a:t>584.1</a:t>
                    </a:r>
                  </a:p>
                </c:rich>
              </c:tx>
              <c:dLblPos val="t"/>
              <c:showLegendKey val="0"/>
              <c:showVal val="1"/>
              <c:showCatName val="0"/>
              <c:showSerName val="0"/>
              <c:showPercent val="0"/>
              <c:showBubbleSize val="0"/>
            </c:dLbl>
            <c:dLbl>
              <c:idx val="12"/>
              <c:tx>
                <c:rich>
                  <a:bodyPr/>
                  <a:lstStyle/>
                  <a:p>
                    <a:r>
                      <a:t>667.13</a:t>
                    </a:r>
                  </a:p>
                </c:rich>
              </c:tx>
              <c:dLblPos val="t"/>
              <c:showLegendKey val="0"/>
              <c:showVal val="1"/>
              <c:showCatName val="0"/>
              <c:showSerName val="0"/>
              <c:showPercent val="0"/>
              <c:showBubbleSize val="0"/>
            </c:dLbl>
            <c:dLbl>
              <c:idx val="13"/>
              <c:tx>
                <c:rich>
                  <a:bodyPr/>
                  <a:lstStyle/>
                  <a:p>
                    <a:r>
                      <a:t>0.0</a:t>
                    </a:r>
                  </a:p>
                </c:rich>
              </c:tx>
              <c:dLblPos val="t"/>
              <c:showLegendKey val="0"/>
              <c:showVal val="1"/>
              <c:showCatName val="0"/>
              <c:showSerName val="0"/>
              <c:showPercent val="0"/>
              <c:showBubbleSize val="0"/>
            </c:dLbl>
            <c:dLbl>
              <c:idx val="14"/>
              <c:tx>
                <c:rich>
                  <a:bodyPr/>
                  <a:lstStyle/>
                  <a:p>
                    <a:r>
                      <a:t>1722.99</a:t>
                    </a:r>
                  </a:p>
                </c:rich>
              </c:tx>
              <c:dLblPos val="t"/>
              <c:showLegendKey val="0"/>
              <c:showVal val="1"/>
              <c:showCatName val="0"/>
              <c:showSerName val="0"/>
              <c:showPercent val="0"/>
              <c:showBubbleSize val="0"/>
            </c:dLbl>
            <c:dLbl>
              <c:idx val="15"/>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lvl>
                <c:lvl>
                  <c:pt idx="0">
                    <c:v>No Spray Crema</c:v>
                  </c:pt>
                  <c:pt idx="2">
                    <c:v>No Spray Liquido</c:v>
                  </c:pt>
                  <c:pt idx="4">
                    <c:v>No Spray Gel</c:v>
                  </c:pt>
                  <c:pt idx="6">
                    <c:v>Spray Liquido</c:v>
                  </c:pt>
                  <c:pt idx="8">
                    <c:v>No Spray Fluido</c:v>
                  </c:pt>
                  <c:pt idx="10">
                    <c:v>No Spray Liquido</c:v>
                  </c:pt>
                  <c:pt idx="12">
                    <c:v>No Spray Crema</c:v>
                  </c:pt>
                  <c:pt idx="14">
                    <c:v>No Spray Gel</c:v>
                  </c:pt>
                </c:lvl>
                <c:lvl>
                  <c:pt idx="0">
                    <c:v>Sunscreen Adults</c:v>
                  </c:pt>
                  <c:pt idx="10">
                    <c:v>Sunscreen Kids</c:v>
                  </c:pt>
                </c:lvl>
              </c:multiLvlStrCache>
            </c:multiLvlStrRef>
          </c:cat>
          <c:val>
            <c:numRef>
              <c:f>Sheet1!$E$2:$E$17</c:f>
              <c:numCache>
                <c:formatCode>General</c:formatCode>
                <c:ptCount val="16"/>
                <c:pt idx="0">
                  <c:v>1787.0997</c:v>
                </c:pt>
                <c:pt idx="1">
                  <c:v>1166.3582</c:v>
                </c:pt>
                <c:pt idx="2">
                  <c:v>1382.5326</c:v>
                </c:pt>
                <c:pt idx="3">
                  <c:v>1226.2157</c:v>
                </c:pt>
                <c:pt idx="4">
                  <c:v>1743.6278</c:v>
                </c:pt>
                <c:pt idx="5">
                  <c:v>0.0</c:v>
                </c:pt>
                <c:pt idx="6">
                  <c:v>1380.7984</c:v>
                </c:pt>
                <c:pt idx="7">
                  <c:v>1378.8157</c:v>
                </c:pt>
                <c:pt idx="8">
                  <c:v>10299.2377</c:v>
                </c:pt>
                <c:pt idx="9">
                  <c:v>0.0</c:v>
                </c:pt>
                <c:pt idx="10">
                  <c:v>1301.417</c:v>
                </c:pt>
                <c:pt idx="11">
                  <c:v>584.0981</c:v>
                </c:pt>
                <c:pt idx="12">
                  <c:v>667.1291</c:v>
                </c:pt>
                <c:pt idx="13">
                  <c:v>0.0</c:v>
                </c:pt>
                <c:pt idx="14">
                  <c:v>1722.9855</c:v>
                </c:pt>
                <c:pt idx="15">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Pt>
            <c:idx val="4"/>
            <c:spPr>
              <a:solidFill>
                <a:srgbClr val="BCBBBB"/>
              </a:solidFill>
            </c:spPr>
          </c:dPt>
          <c:dPt>
            <c:idx val="6"/>
            <c:spPr>
              <a:solidFill>
                <a:srgbClr val="BCBBBB"/>
              </a:solidFill>
            </c:spPr>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lvl>
                <c:lvl>
                  <c:pt idx="0">
                    <c:v>No Spray Crema</c:v>
                  </c:pt>
                  <c:pt idx="2">
                    <c:v>No Spray Liquido</c:v>
                  </c:pt>
                  <c:pt idx="4">
                    <c:v>No Spray Gel</c:v>
                  </c:pt>
                  <c:pt idx="6">
                    <c:v>No Spray Fluido</c:v>
                  </c:pt>
                  <c:pt idx="8">
                    <c:v>Spray Liquido</c:v>
                  </c:pt>
                  <c:pt idx="10">
                    <c:v>No Spray Crema</c:v>
                  </c:pt>
                  <c:pt idx="12">
                    <c:v>No Spray Liquido</c:v>
                  </c:pt>
                </c:lvl>
                <c:lvl>
                  <c:pt idx="0">
                    <c:v>Sunscreen Adults</c:v>
                  </c:pt>
                  <c:pt idx="10">
                    <c:v>Sunscreen Kids</c:v>
                  </c:pt>
                </c:lvl>
              </c:multiLvlStrCache>
            </c:multiLvlStrRef>
          </c:cat>
          <c:val>
            <c:numRef>
              <c:f>Sheet1!$D$2:$D$15</c:f>
              <c:numCache>
                <c:formatCode>General</c:formatCode>
                <c:ptCount val="14"/>
                <c:pt idx="0">
                  <c:v>144.4</c:v>
                </c:pt>
                <c:pt idx="1">
                  <c:v>8.5</c:v>
                </c:pt>
                <c:pt idx="2">
                  <c:v>48.0</c:v>
                </c:pt>
                <c:pt idx="3">
                  <c:v>19.8</c:v>
                </c:pt>
                <c:pt idx="4">
                  <c:v>22.4</c:v>
                </c:pt>
                <c:pt idx="5">
                  <c:v>0.0</c:v>
                </c:pt>
                <c:pt idx="6">
                  <c:v>20.4</c:v>
                </c:pt>
                <c:pt idx="7">
                  <c:v>0.0</c:v>
                </c:pt>
                <c:pt idx="8">
                  <c:v>14.1</c:v>
                </c:pt>
                <c:pt idx="9">
                  <c:v>3.9</c:v>
                </c:pt>
                <c:pt idx="10">
                  <c:v>5.2</c:v>
                </c:pt>
                <c:pt idx="11">
                  <c:v>0.0</c:v>
                </c:pt>
                <c:pt idx="12">
                  <c:v>4.8</c:v>
                </c:pt>
                <c:pt idx="13">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212.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64.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75.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63.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2170.78</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0595.32</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dLbl>
              <c:idx val="8"/>
              <c:tx>
                <c:rich>
                  <a:bodyPr/>
                  <a:lstStyle/>
                  <a:p>
                    <a:r>
                      <a:t>1425.33</a:t>
                    </a:r>
                  </a:p>
                </c:rich>
              </c:tx>
              <c:dLblPos val="t"/>
              <c:showLegendKey val="0"/>
              <c:showVal val="1"/>
              <c:showCatName val="0"/>
              <c:showSerName val="0"/>
              <c:showPercent val="0"/>
              <c:showBubbleSize val="0"/>
            </c:dLbl>
            <c:dLbl>
              <c:idx val="9"/>
              <c:tx>
                <c:rich>
                  <a:bodyPr/>
                  <a:lstStyle/>
                  <a:p>
                    <a:r>
                      <a:t>1292.09</a:t>
                    </a:r>
                  </a:p>
                </c:rich>
              </c:tx>
              <c:dLblPos val="t"/>
              <c:showLegendKey val="0"/>
              <c:showVal val="1"/>
              <c:showCatName val="0"/>
              <c:showSerName val="0"/>
              <c:showPercent val="0"/>
              <c:showBubbleSize val="0"/>
            </c:dLbl>
            <c:dLbl>
              <c:idx val="10"/>
              <c:tx>
                <c:rich>
                  <a:bodyPr/>
                  <a:lstStyle/>
                  <a:p>
                    <a:r>
                      <a:t>717.41</a:t>
                    </a:r>
                  </a:p>
                </c:rich>
              </c:tx>
              <c:dLblPos val="t"/>
              <c:showLegendKey val="0"/>
              <c:showVal val="1"/>
              <c:showCatName val="0"/>
              <c:showSerName val="0"/>
              <c:showPercent val="0"/>
              <c:showBubbleSize val="0"/>
            </c:dLbl>
            <c:dLbl>
              <c:idx val="11"/>
              <c:tx>
                <c:rich>
                  <a:bodyPr/>
                  <a:lstStyle/>
                  <a:p>
                    <a:r>
                      <a:t>0.0</a:t>
                    </a:r>
                  </a:p>
                </c:rich>
              </c:tx>
              <c:dLblPos val="t"/>
              <c:showLegendKey val="0"/>
              <c:showVal val="1"/>
              <c:showCatName val="0"/>
              <c:showSerName val="0"/>
              <c:showPercent val="0"/>
              <c:showBubbleSize val="0"/>
            </c:dLbl>
            <c:dLbl>
              <c:idx val="12"/>
              <c:tx>
                <c:rich>
                  <a:bodyPr/>
                  <a:lstStyle/>
                  <a:p>
                    <a:r>
                      <a:t>1401.01</a:t>
                    </a:r>
                  </a:p>
                </c:rich>
              </c:tx>
              <c:dLblPos val="t"/>
              <c:showLegendKey val="0"/>
              <c:showVal val="1"/>
              <c:showCatName val="0"/>
              <c:showSerName val="0"/>
              <c:showPercent val="0"/>
              <c:showBubbleSize val="0"/>
            </c:dLbl>
            <c:dLbl>
              <c:idx val="13"/>
              <c:tx>
                <c:rich>
                  <a:bodyPr/>
                  <a:lstStyle/>
                  <a:p>
                    <a:r>
                      <a:t>720.62</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lvl>
                <c:lvl>
                  <c:pt idx="0">
                    <c:v>No Spray Crema</c:v>
                  </c:pt>
                  <c:pt idx="2">
                    <c:v>No Spray Liquido</c:v>
                  </c:pt>
                  <c:pt idx="4">
                    <c:v>No Spray Gel</c:v>
                  </c:pt>
                  <c:pt idx="6">
                    <c:v>No Spray Fluido</c:v>
                  </c:pt>
                  <c:pt idx="8">
                    <c:v>Spray Liquido</c:v>
                  </c:pt>
                  <c:pt idx="10">
                    <c:v>No Spray Crema</c:v>
                  </c:pt>
                  <c:pt idx="12">
                    <c:v>No Spray Liquido</c:v>
                  </c:pt>
                </c:lvl>
                <c:lvl>
                  <c:pt idx="0">
                    <c:v>Sunscreen Adults</c:v>
                  </c:pt>
                  <c:pt idx="10">
                    <c:v>Sunscreen Kids</c:v>
                  </c:pt>
                </c:lvl>
              </c:multiLvlStrCache>
            </c:multiLvlStrRef>
          </c:cat>
          <c:val>
            <c:numRef>
              <c:f>Sheet1!$E$2:$E$15</c:f>
              <c:numCache>
                <c:formatCode>General</c:formatCode>
                <c:ptCount val="14"/>
                <c:pt idx="0">
                  <c:v>2212.3442</c:v>
                </c:pt>
                <c:pt idx="1">
                  <c:v>1164.2335</c:v>
                </c:pt>
                <c:pt idx="2">
                  <c:v>1375.4544</c:v>
                </c:pt>
                <c:pt idx="3">
                  <c:v>1163.9256</c:v>
                </c:pt>
                <c:pt idx="4">
                  <c:v>2170.7798</c:v>
                </c:pt>
                <c:pt idx="5">
                  <c:v>0.0</c:v>
                </c:pt>
                <c:pt idx="6">
                  <c:v>10595.3196</c:v>
                </c:pt>
                <c:pt idx="7">
                  <c:v>0.0</c:v>
                </c:pt>
                <c:pt idx="8">
                  <c:v>1425.3298</c:v>
                </c:pt>
                <c:pt idx="9">
                  <c:v>1292.0886</c:v>
                </c:pt>
                <c:pt idx="10">
                  <c:v>717.4099</c:v>
                </c:pt>
                <c:pt idx="11">
                  <c:v>0.0</c:v>
                </c:pt>
                <c:pt idx="12">
                  <c:v>1401.0145</c:v>
                </c:pt>
                <c:pt idx="13">
                  <c:v>720.61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Pt>
            <c:idx val="4"/>
            <c:spPr>
              <a:solidFill>
                <a:srgbClr val="BCBBBB"/>
              </a:solidFill>
            </c:spPr>
          </c:dPt>
          <c:dPt>
            <c:idx val="6"/>
            <c:spPr>
              <a:solidFill>
                <a:srgbClr val="BCBBBB"/>
              </a:solidFill>
            </c:spPr>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lvl>
                <c:lvl>
                  <c:pt idx="0">
                    <c:v>No Spray Gel</c:v>
                  </c:pt>
                  <c:pt idx="2">
                    <c:v>No Spray Crema</c:v>
                  </c:pt>
                  <c:pt idx="4">
                    <c:v>No Spray Liquido</c:v>
                  </c:pt>
                  <c:pt idx="6">
                    <c:v>Spray Liquido</c:v>
                  </c:pt>
                  <c:pt idx="8">
                    <c:v>No Spray Gel</c:v>
                  </c:pt>
                  <c:pt idx="10">
                    <c:v>No Spray Crema</c:v>
                  </c:pt>
                  <c:pt idx="12">
                    <c:v>No Spray Gel</c:v>
                  </c:pt>
                  <c:pt idx="14">
                    <c:v>No Spray Liquido</c:v>
                  </c:pt>
                </c:lvl>
                <c:lvl>
                  <c:pt idx="0">
                    <c:v>After Sun Adults</c:v>
                  </c:pt>
                  <c:pt idx="2">
                    <c:v>Sunscreen Adults</c:v>
                  </c:pt>
                  <c:pt idx="10">
                    <c:v>Sunscreen Kids</c:v>
                  </c:pt>
                </c:lvl>
              </c:multiLvlStrCache>
            </c:multiLvlStrRef>
          </c:cat>
          <c:val>
            <c:numRef>
              <c:f>Sheet1!$D$2:$D$17</c:f>
              <c:numCache>
                <c:formatCode>General</c:formatCode>
                <c:ptCount val="16"/>
                <c:pt idx="0">
                  <c:v>5.4</c:v>
                </c:pt>
                <c:pt idx="1">
                  <c:v>2.9</c:v>
                </c:pt>
                <c:pt idx="2">
                  <c:v>103.1</c:v>
                </c:pt>
                <c:pt idx="3">
                  <c:v>12.8</c:v>
                </c:pt>
                <c:pt idx="4">
                  <c:v>61.9</c:v>
                </c:pt>
                <c:pt idx="5">
                  <c:v>23.1</c:v>
                </c:pt>
                <c:pt idx="6">
                  <c:v>29.5</c:v>
                </c:pt>
                <c:pt idx="7">
                  <c:v>9.9</c:v>
                </c:pt>
                <c:pt idx="8">
                  <c:v>15.9</c:v>
                </c:pt>
                <c:pt idx="9">
                  <c:v>0.0</c:v>
                </c:pt>
                <c:pt idx="10">
                  <c:v>7.2</c:v>
                </c:pt>
                <c:pt idx="11">
                  <c:v>0.0</c:v>
                </c:pt>
                <c:pt idx="12">
                  <c:v>6.2</c:v>
                </c:pt>
                <c:pt idx="13">
                  <c:v>0.0</c:v>
                </c:pt>
                <c:pt idx="14">
                  <c:v>5.3</c:v>
                </c:pt>
                <c:pt idx="15">
                  <c:v>0.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71.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627.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439.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38.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309.09</a:t>
                    </a:r>
                  </a:p>
                </c:rich>
              </c:tx>
              <c:dLblPos val="t"/>
              <c:showLegendKey val="0"/>
              <c:showVal val="1"/>
              <c:showCatName val="0"/>
              <c:showSerName val="0"/>
              <c:showPercent val="0"/>
              <c:showBubbleSize val="0"/>
            </c:dLbl>
            <c:dLbl>
              <c:idx val="5"/>
              <c:tx>
                <c:rich>
                  <a:bodyPr/>
                  <a:lstStyle/>
                  <a:p>
                    <a:r>
                      <a:t>1135.47</a:t>
                    </a:r>
                  </a:p>
                </c:rich>
              </c:tx>
              <c:dLblPos val="t"/>
              <c:showLegendKey val="0"/>
              <c:showVal val="1"/>
              <c:showCatName val="0"/>
              <c:showSerName val="0"/>
              <c:showPercent val="0"/>
              <c:showBubbleSize val="0"/>
            </c:dLbl>
            <c:dLbl>
              <c:idx val="6"/>
              <c:tx>
                <c:rich>
                  <a:bodyPr/>
                  <a:lstStyle/>
                  <a:p>
                    <a:r>
                      <a:t>1364.75</a:t>
                    </a:r>
                  </a:p>
                </c:rich>
              </c:tx>
              <c:dLblPos val="t"/>
              <c:showLegendKey val="0"/>
              <c:showVal val="1"/>
              <c:showCatName val="0"/>
              <c:showSerName val="0"/>
              <c:showPercent val="0"/>
              <c:showBubbleSize val="0"/>
            </c:dLbl>
            <c:dLbl>
              <c:idx val="7"/>
              <c:tx>
                <c:rich>
                  <a:bodyPr/>
                  <a:lstStyle/>
                  <a:p>
                    <a:r>
                      <a:t>1367.38</a:t>
                    </a:r>
                  </a:p>
                </c:rich>
              </c:tx>
              <c:dLblPos val="t"/>
              <c:showLegendKey val="0"/>
              <c:showVal val="1"/>
              <c:showCatName val="0"/>
              <c:showSerName val="0"/>
              <c:showPercent val="0"/>
              <c:showBubbleSize val="0"/>
            </c:dLbl>
            <c:dLbl>
              <c:idx val="8"/>
              <c:tx>
                <c:rich>
                  <a:bodyPr/>
                  <a:lstStyle/>
                  <a:p>
                    <a:r>
                      <a:t>1360.65</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dLbl>
              <c:idx val="10"/>
              <c:tx>
                <c:rich>
                  <a:bodyPr/>
                  <a:lstStyle/>
                  <a:p>
                    <a:r>
                      <a:t>706.38</a:t>
                    </a:r>
                  </a:p>
                </c:rich>
              </c:tx>
              <c:dLblPos val="t"/>
              <c:showLegendKey val="0"/>
              <c:showVal val="1"/>
              <c:showCatName val="0"/>
              <c:showSerName val="0"/>
              <c:showPercent val="0"/>
              <c:showBubbleSize val="0"/>
            </c:dLbl>
            <c:dLbl>
              <c:idx val="11"/>
              <c:tx>
                <c:rich>
                  <a:bodyPr/>
                  <a:lstStyle/>
                  <a:p>
                    <a:r>
                      <a:t>0.0</a:t>
                    </a:r>
                  </a:p>
                </c:rich>
              </c:tx>
              <c:dLblPos val="t"/>
              <c:showLegendKey val="0"/>
              <c:showVal val="1"/>
              <c:showCatName val="0"/>
              <c:showSerName val="0"/>
              <c:showPercent val="0"/>
              <c:showBubbleSize val="0"/>
            </c:dLbl>
            <c:dLbl>
              <c:idx val="12"/>
              <c:tx>
                <c:rich>
                  <a:bodyPr/>
                  <a:lstStyle/>
                  <a:p>
                    <a:r>
                      <a:t>1565.17</a:t>
                    </a:r>
                  </a:p>
                </c:rich>
              </c:tx>
              <c:dLblPos val="t"/>
              <c:showLegendKey val="0"/>
              <c:showVal val="1"/>
              <c:showCatName val="0"/>
              <c:showSerName val="0"/>
              <c:showPercent val="0"/>
              <c:showBubbleSize val="0"/>
            </c:dLbl>
            <c:dLbl>
              <c:idx val="13"/>
              <c:tx>
                <c:rich>
                  <a:bodyPr/>
                  <a:lstStyle/>
                  <a:p>
                    <a:r>
                      <a:t>0.0</a:t>
                    </a:r>
                  </a:p>
                </c:rich>
              </c:tx>
              <c:dLblPos val="t"/>
              <c:showLegendKey val="0"/>
              <c:showVal val="1"/>
              <c:showCatName val="0"/>
              <c:showSerName val="0"/>
              <c:showPercent val="0"/>
              <c:showBubbleSize val="0"/>
            </c:dLbl>
            <c:dLbl>
              <c:idx val="14"/>
              <c:tx>
                <c:rich>
                  <a:bodyPr/>
                  <a:lstStyle/>
                  <a:p>
                    <a:r>
                      <a:t>1215.41</a:t>
                    </a:r>
                  </a:p>
                </c:rich>
              </c:tx>
              <c:dLblPos val="t"/>
              <c:showLegendKey val="0"/>
              <c:showVal val="1"/>
              <c:showCatName val="0"/>
              <c:showSerName val="0"/>
              <c:showPercent val="0"/>
              <c:showBubbleSize val="0"/>
            </c:dLbl>
            <c:dLbl>
              <c:idx val="15"/>
              <c:tx>
                <c:rich>
                  <a:bodyPr/>
                  <a:lstStyle/>
                  <a:p>
                    <a:r>
                      <a:t>547.92</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lvl>
                <c:lvl>
                  <c:pt idx="0">
                    <c:v>No Spray Gel</c:v>
                  </c:pt>
                  <c:pt idx="2">
                    <c:v>No Spray Crema</c:v>
                  </c:pt>
                  <c:pt idx="4">
                    <c:v>No Spray Liquido</c:v>
                  </c:pt>
                  <c:pt idx="6">
                    <c:v>Spray Liquido</c:v>
                  </c:pt>
                  <c:pt idx="8">
                    <c:v>No Spray Gel</c:v>
                  </c:pt>
                  <c:pt idx="10">
                    <c:v>No Spray Crema</c:v>
                  </c:pt>
                  <c:pt idx="12">
                    <c:v>No Spray Gel</c:v>
                  </c:pt>
                  <c:pt idx="14">
                    <c:v>No Spray Liquido</c:v>
                  </c:pt>
                </c:lvl>
                <c:lvl>
                  <c:pt idx="0">
                    <c:v>After Sun Adults</c:v>
                  </c:pt>
                  <c:pt idx="2">
                    <c:v>Sunscreen Adults</c:v>
                  </c:pt>
                  <c:pt idx="10">
                    <c:v>Sunscreen Kids</c:v>
                  </c:pt>
                </c:lvl>
              </c:multiLvlStrCache>
            </c:multiLvlStrRef>
          </c:cat>
          <c:val>
            <c:numRef>
              <c:f>Sheet1!$E$2:$E$17</c:f>
              <c:numCache>
                <c:formatCode>General</c:formatCode>
                <c:ptCount val="16"/>
                <c:pt idx="0">
                  <c:v>571.5165</c:v>
                </c:pt>
                <c:pt idx="1">
                  <c:v>627.8382</c:v>
                </c:pt>
                <c:pt idx="2">
                  <c:v>1439.95</c:v>
                </c:pt>
                <c:pt idx="3">
                  <c:v>1138.3502</c:v>
                </c:pt>
                <c:pt idx="4">
                  <c:v>1309.0881</c:v>
                </c:pt>
                <c:pt idx="5">
                  <c:v>1135.4699</c:v>
                </c:pt>
                <c:pt idx="6">
                  <c:v>1364.7523</c:v>
                </c:pt>
                <c:pt idx="7">
                  <c:v>1367.384</c:v>
                </c:pt>
                <c:pt idx="8">
                  <c:v>1360.6511</c:v>
                </c:pt>
                <c:pt idx="9">
                  <c:v>0.0</c:v>
                </c:pt>
                <c:pt idx="10">
                  <c:v>706.3781</c:v>
                </c:pt>
                <c:pt idx="11">
                  <c:v>0.0</c:v>
                </c:pt>
                <c:pt idx="12">
                  <c:v>1565.1662</c:v>
                </c:pt>
                <c:pt idx="13">
                  <c:v>0.0</c:v>
                </c:pt>
                <c:pt idx="14">
                  <c:v>1215.4095</c:v>
                </c:pt>
                <c:pt idx="15">
                  <c:v>547.917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Pt>
            <c:idx val="4"/>
            <c:spPr>
              <a:solidFill>
                <a:srgbClr val="BCBBBB"/>
              </a:solidFill>
            </c:spPr>
          </c:dPt>
          <c:dPt>
            <c:idx val="6"/>
            <c:spPr>
              <a:solidFill>
                <a:srgbClr val="BCBBBB"/>
              </a:solidFill>
            </c:spPr>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lvl>
                <c:lvl>
                  <c:pt idx="0">
                    <c:v>No Spray Crema</c:v>
                  </c:pt>
                  <c:pt idx="2">
                    <c:v>No Spray Liquido</c:v>
                  </c:pt>
                  <c:pt idx="4">
                    <c:v>No Spray Gel</c:v>
                  </c:pt>
                  <c:pt idx="6">
                    <c:v>Spray Liquido</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D$2:$D$17</c:f>
              <c:numCache>
                <c:formatCode>General</c:formatCode>
                <c:ptCount val="16"/>
                <c:pt idx="0">
                  <c:v>118.4</c:v>
                </c:pt>
                <c:pt idx="1">
                  <c:v>12.5</c:v>
                </c:pt>
                <c:pt idx="2">
                  <c:v>55.1</c:v>
                </c:pt>
                <c:pt idx="3">
                  <c:v>21.6</c:v>
                </c:pt>
                <c:pt idx="4">
                  <c:v>17.9</c:v>
                </c:pt>
                <c:pt idx="5">
                  <c:v>0.0</c:v>
                </c:pt>
                <c:pt idx="6">
                  <c:v>15.6</c:v>
                </c:pt>
                <c:pt idx="7">
                  <c:v>4.4</c:v>
                </c:pt>
                <c:pt idx="8">
                  <c:v>8.6</c:v>
                </c:pt>
                <c:pt idx="9">
                  <c:v>0.0</c:v>
                </c:pt>
                <c:pt idx="10">
                  <c:v>6.1</c:v>
                </c:pt>
                <c:pt idx="11">
                  <c:v>0.0</c:v>
                </c:pt>
                <c:pt idx="12">
                  <c:v>6.0</c:v>
                </c:pt>
                <c:pt idx="13">
                  <c:v>0.1</c:v>
                </c:pt>
                <c:pt idx="14">
                  <c:v>4.6</c:v>
                </c:pt>
                <c:pt idx="15">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59.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55.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63.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94.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729.46</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388.07</a:t>
                    </a:r>
                  </a:p>
                </c:rich>
              </c:tx>
              <c:dLblPos val="t"/>
              <c:showLegendKey val="0"/>
              <c:showVal val="1"/>
              <c:showCatName val="0"/>
              <c:showSerName val="0"/>
              <c:showPercent val="0"/>
              <c:showBubbleSize val="0"/>
            </c:dLbl>
            <c:dLbl>
              <c:idx val="7"/>
              <c:tx>
                <c:rich>
                  <a:bodyPr/>
                  <a:lstStyle/>
                  <a:p>
                    <a:r>
                      <a:t>1402.18</a:t>
                    </a:r>
                  </a:p>
                </c:rich>
              </c:tx>
              <c:dLblPos val="t"/>
              <c:showLegendKey val="0"/>
              <c:showVal val="1"/>
              <c:showCatName val="0"/>
              <c:showSerName val="0"/>
              <c:showPercent val="0"/>
              <c:showBubbleSize val="0"/>
            </c:dLbl>
            <c:dLbl>
              <c:idx val="8"/>
              <c:tx>
                <c:rich>
                  <a:bodyPr/>
                  <a:lstStyle/>
                  <a:p>
                    <a:r>
                      <a:t>11592.53</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dLbl>
              <c:idx val="10"/>
              <c:tx>
                <c:rich>
                  <a:bodyPr/>
                  <a:lstStyle/>
                  <a:p>
                    <a:r>
                      <a:t>682.45</a:t>
                    </a:r>
                  </a:p>
                </c:rich>
              </c:tx>
              <c:dLblPos val="t"/>
              <c:showLegendKey val="0"/>
              <c:showVal val="1"/>
              <c:showCatName val="0"/>
              <c:showSerName val="0"/>
              <c:showPercent val="0"/>
              <c:showBubbleSize val="0"/>
            </c:dLbl>
            <c:dLbl>
              <c:idx val="11"/>
              <c:tx>
                <c:rich>
                  <a:bodyPr/>
                  <a:lstStyle/>
                  <a:p>
                    <a:r>
                      <a:t>0.0</a:t>
                    </a:r>
                  </a:p>
                </c:rich>
              </c:tx>
              <c:dLblPos val="t"/>
              <c:showLegendKey val="0"/>
              <c:showVal val="1"/>
              <c:showCatName val="0"/>
              <c:showSerName val="0"/>
              <c:showPercent val="0"/>
              <c:showBubbleSize val="0"/>
            </c:dLbl>
            <c:dLbl>
              <c:idx val="12"/>
              <c:tx>
                <c:rich>
                  <a:bodyPr/>
                  <a:lstStyle/>
                  <a:p>
                    <a:r>
                      <a:t>1303.13</a:t>
                    </a:r>
                  </a:p>
                </c:rich>
              </c:tx>
              <c:dLblPos val="t"/>
              <c:showLegendKey val="0"/>
              <c:showVal val="1"/>
              <c:showCatName val="0"/>
              <c:showSerName val="0"/>
              <c:showPercent val="0"/>
              <c:showBubbleSize val="0"/>
            </c:dLbl>
            <c:dLbl>
              <c:idx val="13"/>
              <c:tx>
                <c:rich>
                  <a:bodyPr/>
                  <a:lstStyle/>
                  <a:p>
                    <a:r>
                      <a:t>594.51</a:t>
                    </a:r>
                  </a:p>
                </c:rich>
              </c:tx>
              <c:dLblPos val="t"/>
              <c:showLegendKey val="0"/>
              <c:showVal val="1"/>
              <c:showCatName val="0"/>
              <c:showSerName val="0"/>
              <c:showPercent val="0"/>
              <c:showBubbleSize val="0"/>
            </c:dLbl>
            <c:dLbl>
              <c:idx val="14"/>
              <c:tx>
                <c:rich>
                  <a:bodyPr/>
                  <a:lstStyle/>
                  <a:p>
                    <a:r>
                      <a:t>1696.94</a:t>
                    </a:r>
                  </a:p>
                </c:rich>
              </c:tx>
              <c:dLblPos val="t"/>
              <c:showLegendKey val="0"/>
              <c:showVal val="1"/>
              <c:showCatName val="0"/>
              <c:showSerName val="0"/>
              <c:showPercent val="0"/>
              <c:showBubbleSize val="0"/>
            </c:dLbl>
            <c:dLbl>
              <c:idx val="15"/>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lvl>
                <c:lvl>
                  <c:pt idx="0">
                    <c:v>No Spray Crema</c:v>
                  </c:pt>
                  <c:pt idx="2">
                    <c:v>No Spray Liquido</c:v>
                  </c:pt>
                  <c:pt idx="4">
                    <c:v>No Spray Gel</c:v>
                  </c:pt>
                  <c:pt idx="6">
                    <c:v>Spray Liquido</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E$2:$E$17</c:f>
              <c:numCache>
                <c:formatCode>General</c:formatCode>
                <c:ptCount val="16"/>
                <c:pt idx="0">
                  <c:v>1659.42</c:v>
                </c:pt>
                <c:pt idx="1">
                  <c:v>1155.1236</c:v>
                </c:pt>
                <c:pt idx="2">
                  <c:v>1363.1175</c:v>
                </c:pt>
                <c:pt idx="3">
                  <c:v>1194.8177</c:v>
                </c:pt>
                <c:pt idx="4">
                  <c:v>1729.4639</c:v>
                </c:pt>
                <c:pt idx="5">
                  <c:v>0.0</c:v>
                </c:pt>
                <c:pt idx="6">
                  <c:v>1388.0657</c:v>
                </c:pt>
                <c:pt idx="7">
                  <c:v>1402.184</c:v>
                </c:pt>
                <c:pt idx="8">
                  <c:v>11592.5312</c:v>
                </c:pt>
                <c:pt idx="9">
                  <c:v>0.0</c:v>
                </c:pt>
                <c:pt idx="10">
                  <c:v>682.4479</c:v>
                </c:pt>
                <c:pt idx="11">
                  <c:v>0.0</c:v>
                </c:pt>
                <c:pt idx="12">
                  <c:v>1303.1286</c:v>
                </c:pt>
                <c:pt idx="13">
                  <c:v>594.5136</c:v>
                </c:pt>
                <c:pt idx="14">
                  <c:v>1696.9402</c:v>
                </c:pt>
                <c:pt idx="15">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Pt>
            <c:idx val="4"/>
            <c:spPr>
              <a:solidFill>
                <a:srgbClr val="BCBBBB"/>
              </a:solidFill>
            </c:spPr>
          </c:dPt>
          <c:dPt>
            <c:idx val="6"/>
            <c:spPr>
              <a:solidFill>
                <a:srgbClr val="BCBBBB"/>
              </a:solidFill>
            </c:spPr>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lvl>
                <c:lvl>
                  <c:pt idx="0">
                    <c:v>No Spray Crema</c:v>
                  </c:pt>
                  <c:pt idx="2">
                    <c:v>No Spray Liquido</c:v>
                  </c:pt>
                  <c:pt idx="4">
                    <c:v>Spray Liquido</c:v>
                  </c:pt>
                  <c:pt idx="6">
                    <c:v>No Spray Gel</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D$2:$D$17</c:f>
              <c:numCache>
                <c:formatCode>General</c:formatCode>
                <c:ptCount val="16"/>
                <c:pt idx="0">
                  <c:v>109.4</c:v>
                </c:pt>
                <c:pt idx="1">
                  <c:v>13.0</c:v>
                </c:pt>
                <c:pt idx="2">
                  <c:v>50.9</c:v>
                </c:pt>
                <c:pt idx="3">
                  <c:v>22.6</c:v>
                </c:pt>
                <c:pt idx="4">
                  <c:v>22.7</c:v>
                </c:pt>
                <c:pt idx="5">
                  <c:v>7.9</c:v>
                </c:pt>
                <c:pt idx="6">
                  <c:v>13.9</c:v>
                </c:pt>
                <c:pt idx="7">
                  <c:v>0.0</c:v>
                </c:pt>
                <c:pt idx="8">
                  <c:v>7.9</c:v>
                </c:pt>
                <c:pt idx="9">
                  <c:v>0.0</c:v>
                </c:pt>
                <c:pt idx="10">
                  <c:v>5.9</c:v>
                </c:pt>
                <c:pt idx="11">
                  <c:v>0.0</c:v>
                </c:pt>
                <c:pt idx="12">
                  <c:v>4.7</c:v>
                </c:pt>
                <c:pt idx="13">
                  <c:v>0.1</c:v>
                </c:pt>
                <c:pt idx="14">
                  <c:v>3.7</c:v>
                </c:pt>
                <c:pt idx="15">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6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8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79.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23.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479.37</a:t>
                    </a:r>
                  </a:p>
                </c:rich>
              </c:tx>
              <c:dLblPos val="t"/>
              <c:showLegendKey val="0"/>
              <c:showVal val="1"/>
              <c:showCatName val="0"/>
              <c:showSerName val="0"/>
              <c:showPercent val="0"/>
              <c:showBubbleSize val="0"/>
            </c:dLbl>
            <c:dLbl>
              <c:idx val="5"/>
              <c:tx>
                <c:rich>
                  <a:bodyPr/>
                  <a:lstStyle/>
                  <a:p>
                    <a:r>
                      <a:t>1480.31</a:t>
                    </a:r>
                  </a:p>
                </c:rich>
              </c:tx>
              <c:dLblPos val="t"/>
              <c:showLegendKey val="0"/>
              <c:showVal val="1"/>
              <c:showCatName val="0"/>
              <c:showSerName val="0"/>
              <c:showPercent val="0"/>
              <c:showBubbleSize val="0"/>
            </c:dLbl>
            <c:dLbl>
              <c:idx val="6"/>
              <c:tx>
                <c:rich>
                  <a:bodyPr/>
                  <a:lstStyle/>
                  <a:p>
                    <a:r>
                      <a:t>1874.5</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dLbl>
              <c:idx val="8"/>
              <c:tx>
                <c:rich>
                  <a:bodyPr/>
                  <a:lstStyle/>
                  <a:p>
                    <a:r>
                      <a:t>11640.68</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dLbl>
              <c:idx val="10"/>
              <c:tx>
                <c:rich>
                  <a:bodyPr/>
                  <a:lstStyle/>
                  <a:p>
                    <a:r>
                      <a:t>699.1</a:t>
                    </a:r>
                  </a:p>
                </c:rich>
              </c:tx>
              <c:dLblPos val="t"/>
              <c:showLegendKey val="0"/>
              <c:showVal val="1"/>
              <c:showCatName val="0"/>
              <c:showSerName val="0"/>
              <c:showPercent val="0"/>
              <c:showBubbleSize val="0"/>
            </c:dLbl>
            <c:dLbl>
              <c:idx val="11"/>
              <c:tx>
                <c:rich>
                  <a:bodyPr/>
                  <a:lstStyle/>
                  <a:p>
                    <a:r>
                      <a:t>0.0</a:t>
                    </a:r>
                  </a:p>
                </c:rich>
              </c:tx>
              <c:dLblPos val="t"/>
              <c:showLegendKey val="0"/>
              <c:showVal val="1"/>
              <c:showCatName val="0"/>
              <c:showSerName val="0"/>
              <c:showPercent val="0"/>
              <c:showBubbleSize val="0"/>
            </c:dLbl>
            <c:dLbl>
              <c:idx val="12"/>
              <c:tx>
                <c:rich>
                  <a:bodyPr/>
                  <a:lstStyle/>
                  <a:p>
                    <a:r>
                      <a:t>1369.9</a:t>
                    </a:r>
                  </a:p>
                </c:rich>
              </c:tx>
              <c:dLblPos val="t"/>
              <c:showLegendKey val="0"/>
              <c:showVal val="1"/>
              <c:showCatName val="0"/>
              <c:showSerName val="0"/>
              <c:showPercent val="0"/>
              <c:showBubbleSize val="0"/>
            </c:dLbl>
            <c:dLbl>
              <c:idx val="13"/>
              <c:tx>
                <c:rich>
                  <a:bodyPr/>
                  <a:lstStyle/>
                  <a:p>
                    <a:r>
                      <a:t>645.62</a:t>
                    </a:r>
                  </a:p>
                </c:rich>
              </c:tx>
              <c:dLblPos val="t"/>
              <c:showLegendKey val="0"/>
              <c:showVal val="1"/>
              <c:showCatName val="0"/>
              <c:showSerName val="0"/>
              <c:showPercent val="0"/>
              <c:showBubbleSize val="0"/>
            </c:dLbl>
            <c:dLbl>
              <c:idx val="14"/>
              <c:tx>
                <c:rich>
                  <a:bodyPr/>
                  <a:lstStyle/>
                  <a:p>
                    <a:r>
                      <a:t>1774.97</a:t>
                    </a:r>
                  </a:p>
                </c:rich>
              </c:tx>
              <c:dLblPos val="t"/>
              <c:showLegendKey val="0"/>
              <c:showVal val="1"/>
              <c:showCatName val="0"/>
              <c:showSerName val="0"/>
              <c:showPercent val="0"/>
              <c:showBubbleSize val="0"/>
            </c:dLbl>
            <c:dLbl>
              <c:idx val="15"/>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lvl>
                <c:lvl>
                  <c:pt idx="0">
                    <c:v>No Spray Crema</c:v>
                  </c:pt>
                  <c:pt idx="2">
                    <c:v>No Spray Liquido</c:v>
                  </c:pt>
                  <c:pt idx="4">
                    <c:v>Spray Liquido</c:v>
                  </c:pt>
                  <c:pt idx="6">
                    <c:v>No Spray Gel</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E$2:$E$17</c:f>
              <c:numCache>
                <c:formatCode>General</c:formatCode>
                <c:ptCount val="16"/>
                <c:pt idx="0">
                  <c:v>1665.6965</c:v>
                </c:pt>
                <c:pt idx="1">
                  <c:v>1183.3975</c:v>
                </c:pt>
                <c:pt idx="2">
                  <c:v>1379.461</c:v>
                </c:pt>
                <c:pt idx="3">
                  <c:v>1223.6136</c:v>
                </c:pt>
                <c:pt idx="4">
                  <c:v>1479.3656</c:v>
                </c:pt>
                <c:pt idx="5">
                  <c:v>1480.3082</c:v>
                </c:pt>
                <c:pt idx="6">
                  <c:v>1874.4972</c:v>
                </c:pt>
                <c:pt idx="7">
                  <c:v>0.0</c:v>
                </c:pt>
                <c:pt idx="8">
                  <c:v>11640.683</c:v>
                </c:pt>
                <c:pt idx="9">
                  <c:v>0.0</c:v>
                </c:pt>
                <c:pt idx="10">
                  <c:v>699.103</c:v>
                </c:pt>
                <c:pt idx="11">
                  <c:v>0.0</c:v>
                </c:pt>
                <c:pt idx="12">
                  <c:v>1369.9003</c:v>
                </c:pt>
                <c:pt idx="13">
                  <c:v>645.625</c:v>
                </c:pt>
                <c:pt idx="14">
                  <c:v>1774.9658</c:v>
                </c:pt>
                <c:pt idx="15">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Pt>
            <c:idx val="4"/>
            <c:spPr>
              <a:solidFill>
                <a:srgbClr val="BCBBBB"/>
              </a:solidFill>
            </c:spPr>
          </c:dPt>
          <c:dPt>
            <c:idx val="6"/>
            <c:spPr>
              <a:solidFill>
                <a:srgbClr val="BCBBBB"/>
              </a:solidFill>
            </c:spPr>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lvl>
                <c:lvl>
                  <c:pt idx="0">
                    <c:v>No Spray Crema</c:v>
                  </c:pt>
                  <c:pt idx="2">
                    <c:v>No Spray Liquido</c:v>
                  </c:pt>
                  <c:pt idx="4">
                    <c:v>Spray Liquido</c:v>
                  </c:pt>
                  <c:pt idx="6">
                    <c:v>No Spray Gel</c:v>
                  </c:pt>
                  <c:pt idx="8">
                    <c:v>No Spray Fluido</c:v>
                  </c:pt>
                  <c:pt idx="10">
                    <c:v>No Spray Liquido</c:v>
                  </c:pt>
                  <c:pt idx="12">
                    <c:v>No Spray Crema</c:v>
                  </c:pt>
                  <c:pt idx="14">
                    <c:v>No Spray Gel</c:v>
                  </c:pt>
                </c:lvl>
                <c:lvl>
                  <c:pt idx="0">
                    <c:v>Sunscreen Adults</c:v>
                  </c:pt>
                  <c:pt idx="10">
                    <c:v>Sunscreen Kids</c:v>
                  </c:pt>
                </c:lvl>
              </c:multiLvlStrCache>
            </c:multiLvlStrRef>
          </c:cat>
          <c:val>
            <c:numRef>
              <c:f>Sheet1!$D$2:$D$17</c:f>
              <c:numCache>
                <c:formatCode>General</c:formatCode>
                <c:ptCount val="16"/>
                <c:pt idx="0">
                  <c:v>74.6</c:v>
                </c:pt>
                <c:pt idx="1">
                  <c:v>9.5</c:v>
                </c:pt>
                <c:pt idx="2">
                  <c:v>40.1</c:v>
                </c:pt>
                <c:pt idx="3">
                  <c:v>14.1</c:v>
                </c:pt>
                <c:pt idx="4">
                  <c:v>23.6</c:v>
                </c:pt>
                <c:pt idx="5">
                  <c:v>8.0</c:v>
                </c:pt>
                <c:pt idx="6">
                  <c:v>10.1</c:v>
                </c:pt>
                <c:pt idx="7">
                  <c:v>0.0</c:v>
                </c:pt>
                <c:pt idx="8">
                  <c:v>3.8</c:v>
                </c:pt>
                <c:pt idx="9">
                  <c:v>0.0</c:v>
                </c:pt>
                <c:pt idx="10">
                  <c:v>4.2</c:v>
                </c:pt>
                <c:pt idx="11">
                  <c:v>0.0</c:v>
                </c:pt>
                <c:pt idx="12">
                  <c:v>3.4</c:v>
                </c:pt>
                <c:pt idx="13">
                  <c:v>0.0</c:v>
                </c:pt>
                <c:pt idx="14">
                  <c:v>3.1</c:v>
                </c:pt>
                <c:pt idx="15">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78.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64.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8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229.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451.22</a:t>
                    </a:r>
                  </a:p>
                </c:rich>
              </c:tx>
              <c:dLblPos val="t"/>
              <c:showLegendKey val="0"/>
              <c:showVal val="1"/>
              <c:showCatName val="0"/>
              <c:showSerName val="0"/>
              <c:showPercent val="0"/>
              <c:showBubbleSize val="0"/>
            </c:dLbl>
            <c:dLbl>
              <c:idx val="5"/>
              <c:tx>
                <c:rich>
                  <a:bodyPr/>
                  <a:lstStyle/>
                  <a:p>
                    <a:r>
                      <a:t>1464.96</a:t>
                    </a:r>
                  </a:p>
                </c:rich>
              </c:tx>
              <c:dLblPos val="t"/>
              <c:showLegendKey val="0"/>
              <c:showVal val="1"/>
              <c:showCatName val="0"/>
              <c:showSerName val="0"/>
              <c:showPercent val="0"/>
              <c:showBubbleSize val="0"/>
            </c:dLbl>
            <c:dLbl>
              <c:idx val="6"/>
              <c:tx>
                <c:rich>
                  <a:bodyPr/>
                  <a:lstStyle/>
                  <a:p>
                    <a:r>
                      <a:t>1658.92</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dLbl>
              <c:idx val="8"/>
              <c:tx>
                <c:rich>
                  <a:bodyPr/>
                  <a:lstStyle/>
                  <a:p>
                    <a:r>
                      <a:t>11328.66</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dLbl>
              <c:idx val="10"/>
              <c:tx>
                <c:rich>
                  <a:bodyPr/>
                  <a:lstStyle/>
                  <a:p>
                    <a:r>
                      <a:t>1343.6</a:t>
                    </a:r>
                  </a:p>
                </c:rich>
              </c:tx>
              <c:dLblPos val="t"/>
              <c:showLegendKey val="0"/>
              <c:showVal val="1"/>
              <c:showCatName val="0"/>
              <c:showSerName val="0"/>
              <c:showPercent val="0"/>
              <c:showBubbleSize val="0"/>
            </c:dLbl>
            <c:dLbl>
              <c:idx val="11"/>
              <c:tx>
                <c:rich>
                  <a:bodyPr/>
                  <a:lstStyle/>
                  <a:p>
                    <a:r>
                      <a:t>533.25</a:t>
                    </a:r>
                  </a:p>
                </c:rich>
              </c:tx>
              <c:dLblPos val="t"/>
              <c:showLegendKey val="0"/>
              <c:showVal val="1"/>
              <c:showCatName val="0"/>
              <c:showSerName val="0"/>
              <c:showPercent val="0"/>
              <c:showBubbleSize val="0"/>
            </c:dLbl>
            <c:dLbl>
              <c:idx val="12"/>
              <c:tx>
                <c:rich>
                  <a:bodyPr/>
                  <a:lstStyle/>
                  <a:p>
                    <a:r>
                      <a:t>727.51</a:t>
                    </a:r>
                  </a:p>
                </c:rich>
              </c:tx>
              <c:dLblPos val="t"/>
              <c:showLegendKey val="0"/>
              <c:showVal val="1"/>
              <c:showCatName val="0"/>
              <c:showSerName val="0"/>
              <c:showPercent val="0"/>
              <c:showBubbleSize val="0"/>
            </c:dLbl>
            <c:dLbl>
              <c:idx val="13"/>
              <c:tx>
                <c:rich>
                  <a:bodyPr/>
                  <a:lstStyle/>
                  <a:p>
                    <a:r>
                      <a:t>0.0</a:t>
                    </a:r>
                  </a:p>
                </c:rich>
              </c:tx>
              <c:dLblPos val="t"/>
              <c:showLegendKey val="0"/>
              <c:showVal val="1"/>
              <c:showCatName val="0"/>
              <c:showSerName val="0"/>
              <c:showPercent val="0"/>
              <c:showBubbleSize val="0"/>
            </c:dLbl>
            <c:dLbl>
              <c:idx val="14"/>
              <c:tx>
                <c:rich>
                  <a:bodyPr/>
                  <a:lstStyle/>
                  <a:p>
                    <a:r>
                      <a:t>1811.1</a:t>
                    </a:r>
                  </a:p>
                </c:rich>
              </c:tx>
              <c:dLblPos val="t"/>
              <c:showLegendKey val="0"/>
              <c:showVal val="1"/>
              <c:showCatName val="0"/>
              <c:showSerName val="0"/>
              <c:showPercent val="0"/>
              <c:showBubbleSize val="0"/>
            </c:dLbl>
            <c:dLbl>
              <c:idx val="15"/>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pt idx="10">
                    <c:v>Total</c:v>
                  </c:pt>
                  <c:pt idx="11">
                    <c:v>Hawaiian Tropic</c:v>
                  </c:pt>
                  <c:pt idx="12">
                    <c:v>Total</c:v>
                  </c:pt>
                  <c:pt idx="13">
                    <c:v>Hawaiian Tropic</c:v>
                  </c:pt>
                  <c:pt idx="14">
                    <c:v>Total</c:v>
                  </c:pt>
                  <c:pt idx="15">
                    <c:v>Hawaiian Tropic</c:v>
                  </c:pt>
                </c:lvl>
                <c:lvl>
                  <c:pt idx="0">
                    <c:v>No Spray Crema</c:v>
                  </c:pt>
                  <c:pt idx="2">
                    <c:v>No Spray Liquido</c:v>
                  </c:pt>
                  <c:pt idx="4">
                    <c:v>Spray Liquido</c:v>
                  </c:pt>
                  <c:pt idx="6">
                    <c:v>No Spray Gel</c:v>
                  </c:pt>
                  <c:pt idx="8">
                    <c:v>No Spray Fluido</c:v>
                  </c:pt>
                  <c:pt idx="10">
                    <c:v>No Spray Liquido</c:v>
                  </c:pt>
                  <c:pt idx="12">
                    <c:v>No Spray Crema</c:v>
                  </c:pt>
                  <c:pt idx="14">
                    <c:v>No Spray Gel</c:v>
                  </c:pt>
                </c:lvl>
                <c:lvl>
                  <c:pt idx="0">
                    <c:v>Sunscreen Adults</c:v>
                  </c:pt>
                  <c:pt idx="10">
                    <c:v>Sunscreen Kids</c:v>
                  </c:pt>
                </c:lvl>
              </c:multiLvlStrCache>
            </c:multiLvlStrRef>
          </c:cat>
          <c:val>
            <c:numRef>
              <c:f>Sheet1!$E$2:$E$17</c:f>
              <c:numCache>
                <c:formatCode>General</c:formatCode>
                <c:ptCount val="16"/>
                <c:pt idx="0">
                  <c:v>1678.1269</c:v>
                </c:pt>
                <c:pt idx="1">
                  <c:v>1164.2514</c:v>
                </c:pt>
                <c:pt idx="2">
                  <c:v>1384.8006</c:v>
                </c:pt>
                <c:pt idx="3">
                  <c:v>1229.1126</c:v>
                </c:pt>
                <c:pt idx="4">
                  <c:v>1451.2198</c:v>
                </c:pt>
                <c:pt idx="5">
                  <c:v>1464.9632</c:v>
                </c:pt>
                <c:pt idx="6">
                  <c:v>1658.9194</c:v>
                </c:pt>
                <c:pt idx="7">
                  <c:v>0.0</c:v>
                </c:pt>
                <c:pt idx="8">
                  <c:v>11328.6557</c:v>
                </c:pt>
                <c:pt idx="9">
                  <c:v>0.0</c:v>
                </c:pt>
                <c:pt idx="10">
                  <c:v>1343.6047</c:v>
                </c:pt>
                <c:pt idx="11">
                  <c:v>533.253</c:v>
                </c:pt>
                <c:pt idx="12">
                  <c:v>727.5068</c:v>
                </c:pt>
                <c:pt idx="13">
                  <c:v>0.0</c:v>
                </c:pt>
                <c:pt idx="14">
                  <c:v>1811.1011</c:v>
                </c:pt>
                <c:pt idx="15">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Pt>
            <c:idx val="4"/>
            <c:spPr>
              <a:solidFill>
                <a:srgbClr val="BCBBBB"/>
              </a:solidFill>
            </c:spPr>
          </c:dPt>
          <c:dPt>
            <c:idx val="6"/>
            <c:spPr>
              <a:solidFill>
                <a:srgbClr val="BCBBBB"/>
              </a:solidFill>
            </c:spPr>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lvl>
                <c:lvl>
                  <c:pt idx="0">
                    <c:v>No Spray Crema</c:v>
                  </c:pt>
                  <c:pt idx="2">
                    <c:v>No Spray Liquido</c:v>
                  </c:pt>
                  <c:pt idx="4">
                    <c:v>Spray Liquido</c:v>
                  </c:pt>
                  <c:pt idx="6">
                    <c:v>No Spray Gel</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D$2:$D$17</c:f>
              <c:numCache>
                <c:formatCode>General</c:formatCode>
                <c:ptCount val="16"/>
                <c:pt idx="0">
                  <c:v>712.9</c:v>
                </c:pt>
                <c:pt idx="1">
                  <c:v>60.8</c:v>
                </c:pt>
                <c:pt idx="2">
                  <c:v>331.7</c:v>
                </c:pt>
                <c:pt idx="3">
                  <c:v>28.9</c:v>
                </c:pt>
                <c:pt idx="4">
                  <c:v>124.4</c:v>
                </c:pt>
                <c:pt idx="5">
                  <c:v>37.9</c:v>
                </c:pt>
                <c:pt idx="6">
                  <c:v>102.2</c:v>
                </c:pt>
                <c:pt idx="7">
                  <c:v>0.0</c:v>
                </c:pt>
                <c:pt idx="8">
                  <c:v>54.3</c:v>
                </c:pt>
                <c:pt idx="9">
                  <c:v>0.7</c:v>
                </c:pt>
                <c:pt idx="10">
                  <c:v>34.5</c:v>
                </c:pt>
                <c:pt idx="11">
                  <c:v>5.2</c:v>
                </c:pt>
                <c:pt idx="12">
                  <c:v>32.3</c:v>
                </c:pt>
                <c:pt idx="13">
                  <c:v>0.0</c:v>
                </c:pt>
                <c:pt idx="14">
                  <c:v>26.1</c:v>
                </c:pt>
                <c:pt idx="15">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740.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058.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6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07.0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412.98</a:t>
                    </a:r>
                  </a:p>
                </c:rich>
              </c:tx>
              <c:dLblPos val="t"/>
              <c:showLegendKey val="0"/>
              <c:showVal val="1"/>
              <c:showCatName val="0"/>
              <c:showSerName val="0"/>
              <c:showPercent val="0"/>
              <c:showBubbleSize val="0"/>
            </c:dLbl>
            <c:dLbl>
              <c:idx val="5"/>
              <c:tx>
                <c:rich>
                  <a:bodyPr/>
                  <a:lstStyle/>
                  <a:p>
                    <a:r>
                      <a:t>1264.21</a:t>
                    </a:r>
                  </a:p>
                </c:rich>
              </c:tx>
              <c:dLblPos val="t"/>
              <c:showLegendKey val="0"/>
              <c:showVal val="1"/>
              <c:showCatName val="0"/>
              <c:showSerName val="0"/>
              <c:showPercent val="0"/>
              <c:showBubbleSize val="0"/>
            </c:dLbl>
            <c:dLbl>
              <c:idx val="6"/>
              <c:tx>
                <c:rich>
                  <a:bodyPr/>
                  <a:lstStyle/>
                  <a:p>
                    <a:r>
                      <a:t>1747.7</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dLbl>
              <c:idx val="8"/>
              <c:tx>
                <c:rich>
                  <a:bodyPr/>
                  <a:lstStyle/>
                  <a:p>
                    <a:r>
                      <a:t>10745.72</a:t>
                    </a:r>
                  </a:p>
                </c:rich>
              </c:tx>
              <c:dLblPos val="t"/>
              <c:showLegendKey val="0"/>
              <c:showVal val="1"/>
              <c:showCatName val="0"/>
              <c:showSerName val="0"/>
              <c:showPercent val="0"/>
              <c:showBubbleSize val="0"/>
            </c:dLbl>
            <c:dLbl>
              <c:idx val="9"/>
              <c:tx>
                <c:rich>
                  <a:bodyPr/>
                  <a:lstStyle/>
                  <a:p>
                    <a:r>
                      <a:t>5633.8</a:t>
                    </a:r>
                  </a:p>
                </c:rich>
              </c:tx>
              <c:dLblPos val="t"/>
              <c:showLegendKey val="0"/>
              <c:showVal val="1"/>
              <c:showCatName val="0"/>
              <c:showSerName val="0"/>
              <c:showPercent val="0"/>
              <c:showBubbleSize val="0"/>
            </c:dLbl>
            <c:dLbl>
              <c:idx val="10"/>
              <c:tx>
                <c:rich>
                  <a:bodyPr/>
                  <a:lstStyle/>
                  <a:p>
                    <a:r>
                      <a:t>696.44</a:t>
                    </a:r>
                  </a:p>
                </c:rich>
              </c:tx>
              <c:dLblPos val="t"/>
              <c:showLegendKey val="0"/>
              <c:showVal val="1"/>
              <c:showCatName val="0"/>
              <c:showSerName val="0"/>
              <c:showPercent val="0"/>
              <c:showBubbleSize val="0"/>
            </c:dLbl>
            <c:dLbl>
              <c:idx val="11"/>
              <c:tx>
                <c:rich>
                  <a:bodyPr/>
                  <a:lstStyle/>
                  <a:p>
                    <a:r>
                      <a:t>1057.88</a:t>
                    </a:r>
                  </a:p>
                </c:rich>
              </c:tx>
              <c:dLblPos val="t"/>
              <c:showLegendKey val="0"/>
              <c:showVal val="1"/>
              <c:showCatName val="0"/>
              <c:showSerName val="0"/>
              <c:showPercent val="0"/>
              <c:showBubbleSize val="0"/>
            </c:dLbl>
            <c:dLbl>
              <c:idx val="12"/>
              <c:tx>
                <c:rich>
                  <a:bodyPr/>
                  <a:lstStyle/>
                  <a:p>
                    <a:r>
                      <a:t>1315.27</a:t>
                    </a:r>
                  </a:p>
                </c:rich>
              </c:tx>
              <c:dLblPos val="t"/>
              <c:showLegendKey val="0"/>
              <c:showVal val="1"/>
              <c:showCatName val="0"/>
              <c:showSerName val="0"/>
              <c:showPercent val="0"/>
              <c:showBubbleSize val="0"/>
            </c:dLbl>
            <c:dLbl>
              <c:idx val="13"/>
              <c:tx>
                <c:rich>
                  <a:bodyPr/>
                  <a:lstStyle/>
                  <a:p>
                    <a:r>
                      <a:t>718.69</a:t>
                    </a:r>
                  </a:p>
                </c:rich>
              </c:tx>
              <c:dLblPos val="t"/>
              <c:showLegendKey val="0"/>
              <c:showVal val="1"/>
              <c:showCatName val="0"/>
              <c:showSerName val="0"/>
              <c:showPercent val="0"/>
              <c:showBubbleSize val="0"/>
            </c:dLbl>
            <c:dLbl>
              <c:idx val="14"/>
              <c:tx>
                <c:rich>
                  <a:bodyPr/>
                  <a:lstStyle/>
                  <a:p>
                    <a:r>
                      <a:t>1694.59</a:t>
                    </a:r>
                  </a:p>
                </c:rich>
              </c:tx>
              <c:dLblPos val="t"/>
              <c:showLegendKey val="0"/>
              <c:showVal val="1"/>
              <c:showCatName val="0"/>
              <c:showSerName val="0"/>
              <c:showPercent val="0"/>
              <c:showBubbleSize val="0"/>
            </c:dLbl>
            <c:dLbl>
              <c:idx val="15"/>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lvl>
                <c:lvl>
                  <c:pt idx="0">
                    <c:v>No Spray Crema</c:v>
                  </c:pt>
                  <c:pt idx="2">
                    <c:v>No Spray Liquido</c:v>
                  </c:pt>
                  <c:pt idx="4">
                    <c:v>Spray Liquido</c:v>
                  </c:pt>
                  <c:pt idx="6">
                    <c:v>No Spray Gel</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E$2:$E$17</c:f>
              <c:numCache>
                <c:formatCode>General</c:formatCode>
                <c:ptCount val="16"/>
                <c:pt idx="0">
                  <c:v>1740.6312</c:v>
                </c:pt>
                <c:pt idx="1">
                  <c:v>1058.7465</c:v>
                </c:pt>
                <c:pt idx="2">
                  <c:v>1363.8256</c:v>
                </c:pt>
                <c:pt idx="3">
                  <c:v>1107.0287</c:v>
                </c:pt>
                <c:pt idx="4">
                  <c:v>1412.978</c:v>
                </c:pt>
                <c:pt idx="5">
                  <c:v>1264.2087</c:v>
                </c:pt>
                <c:pt idx="6">
                  <c:v>1747.7024</c:v>
                </c:pt>
                <c:pt idx="7">
                  <c:v>0.0</c:v>
                </c:pt>
                <c:pt idx="8">
                  <c:v>10745.7167</c:v>
                </c:pt>
                <c:pt idx="9">
                  <c:v>5633.8</c:v>
                </c:pt>
                <c:pt idx="10">
                  <c:v>696.4399</c:v>
                </c:pt>
                <c:pt idx="11">
                  <c:v>1057.8791</c:v>
                </c:pt>
                <c:pt idx="12">
                  <c:v>1315.2692</c:v>
                </c:pt>
                <c:pt idx="13">
                  <c:v>718.6939</c:v>
                </c:pt>
                <c:pt idx="14">
                  <c:v>1694.5946</c:v>
                </c:pt>
                <c:pt idx="15">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Pt>
            <c:idx val="4"/>
            <c:spPr>
              <a:solidFill>
                <a:srgbClr val="BCBBBB"/>
              </a:solidFill>
            </c:spPr>
          </c:dPt>
          <c:dPt>
            <c:idx val="6"/>
            <c:spPr>
              <a:solidFill>
                <a:srgbClr val="BCBBBB"/>
              </a:solidFill>
            </c:spPr>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lvl>
                <c:lvl>
                  <c:pt idx="0">
                    <c:v>No Spray Crema</c:v>
                  </c:pt>
                  <c:pt idx="2">
                    <c:v>No Spray Liquido</c:v>
                  </c:pt>
                  <c:pt idx="4">
                    <c:v>No Spray Gel</c:v>
                  </c:pt>
                  <c:pt idx="6">
                    <c:v>Spray Liquido</c:v>
                  </c:pt>
                  <c:pt idx="8">
                    <c:v>No Spray Fluido</c:v>
                  </c:pt>
                  <c:pt idx="10">
                    <c:v>No Spray Liquido</c:v>
                  </c:pt>
                  <c:pt idx="12">
                    <c:v>No Spray Crema</c:v>
                  </c:pt>
                  <c:pt idx="14">
                    <c:v>No Spray Gel</c:v>
                  </c:pt>
                </c:lvl>
                <c:lvl>
                  <c:pt idx="0">
                    <c:v>Sunscreen Adults</c:v>
                  </c:pt>
                  <c:pt idx="10">
                    <c:v>Sunscreen Kids</c:v>
                  </c:pt>
                </c:lvl>
              </c:multiLvlStrCache>
            </c:multiLvlStrRef>
          </c:cat>
          <c:val>
            <c:numRef>
              <c:f>Sheet1!$D$2:$D$17</c:f>
              <c:numCache>
                <c:formatCode>General</c:formatCode>
                <c:ptCount val="16"/>
                <c:pt idx="0">
                  <c:v>163.0</c:v>
                </c:pt>
                <c:pt idx="1">
                  <c:v>12.9</c:v>
                </c:pt>
                <c:pt idx="2">
                  <c:v>75.7</c:v>
                </c:pt>
                <c:pt idx="3">
                  <c:v>7.4</c:v>
                </c:pt>
                <c:pt idx="4">
                  <c:v>21.9</c:v>
                </c:pt>
                <c:pt idx="5">
                  <c:v>0.0</c:v>
                </c:pt>
                <c:pt idx="6">
                  <c:v>18.9</c:v>
                </c:pt>
                <c:pt idx="7">
                  <c:v>5.2</c:v>
                </c:pt>
                <c:pt idx="8">
                  <c:v>10.7</c:v>
                </c:pt>
                <c:pt idx="9">
                  <c:v>0.3</c:v>
                </c:pt>
                <c:pt idx="10">
                  <c:v>7.3</c:v>
                </c:pt>
                <c:pt idx="11">
                  <c:v>0.0</c:v>
                </c:pt>
                <c:pt idx="12">
                  <c:v>6.7</c:v>
                </c:pt>
                <c:pt idx="13">
                  <c:v>1.0</c:v>
                </c:pt>
                <c:pt idx="14">
                  <c:v>4.9</c:v>
                </c:pt>
                <c:pt idx="15">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78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062.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82.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072.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743.63</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380.8</a:t>
                    </a:r>
                  </a:p>
                </c:rich>
              </c:tx>
              <c:dLblPos val="t"/>
              <c:showLegendKey val="0"/>
              <c:showVal val="1"/>
              <c:showCatName val="0"/>
              <c:showSerName val="0"/>
              <c:showPercent val="0"/>
              <c:showBubbleSize val="0"/>
            </c:dLbl>
            <c:dLbl>
              <c:idx val="7"/>
              <c:tx>
                <c:rich>
                  <a:bodyPr/>
                  <a:lstStyle/>
                  <a:p>
                    <a:r>
                      <a:t>1140.68</a:t>
                    </a:r>
                  </a:p>
                </c:rich>
              </c:tx>
              <c:dLblPos val="t"/>
              <c:showLegendKey val="0"/>
              <c:showVal val="1"/>
              <c:showCatName val="0"/>
              <c:showSerName val="0"/>
              <c:showPercent val="0"/>
              <c:showBubbleSize val="0"/>
            </c:dLbl>
            <c:dLbl>
              <c:idx val="8"/>
              <c:tx>
                <c:rich>
                  <a:bodyPr/>
                  <a:lstStyle/>
                  <a:p>
                    <a:r>
                      <a:t>10299.24</a:t>
                    </a:r>
                  </a:p>
                </c:rich>
              </c:tx>
              <c:dLblPos val="t"/>
              <c:showLegendKey val="0"/>
              <c:showVal val="1"/>
              <c:showCatName val="0"/>
              <c:showSerName val="0"/>
              <c:showPercent val="0"/>
              <c:showBubbleSize val="0"/>
            </c:dLbl>
            <c:dLbl>
              <c:idx val="9"/>
              <c:tx>
                <c:rich>
                  <a:bodyPr/>
                  <a:lstStyle/>
                  <a:p>
                    <a:r>
                      <a:t>5413.5</a:t>
                    </a:r>
                  </a:p>
                </c:rich>
              </c:tx>
              <c:dLblPos val="t"/>
              <c:showLegendKey val="0"/>
              <c:showVal val="1"/>
              <c:showCatName val="0"/>
              <c:showSerName val="0"/>
              <c:showPercent val="0"/>
              <c:showBubbleSize val="0"/>
            </c:dLbl>
            <c:dLbl>
              <c:idx val="10"/>
              <c:tx>
                <c:rich>
                  <a:bodyPr/>
                  <a:lstStyle/>
                  <a:p>
                    <a:r>
                      <a:t>1301.42</a:t>
                    </a:r>
                  </a:p>
                </c:rich>
              </c:tx>
              <c:dLblPos val="t"/>
              <c:showLegendKey val="0"/>
              <c:showVal val="1"/>
              <c:showCatName val="0"/>
              <c:showSerName val="0"/>
              <c:showPercent val="0"/>
              <c:showBubbleSize val="0"/>
            </c:dLbl>
            <c:dLbl>
              <c:idx val="11"/>
              <c:tx>
                <c:rich>
                  <a:bodyPr/>
                  <a:lstStyle/>
                  <a:p>
                    <a:r>
                      <a:t>584.88</a:t>
                    </a:r>
                  </a:p>
                </c:rich>
              </c:tx>
              <c:dLblPos val="t"/>
              <c:showLegendKey val="0"/>
              <c:showVal val="1"/>
              <c:showCatName val="0"/>
              <c:showSerName val="0"/>
              <c:showPercent val="0"/>
              <c:showBubbleSize val="0"/>
            </c:dLbl>
            <c:dLbl>
              <c:idx val="12"/>
              <c:tx>
                <c:rich>
                  <a:bodyPr/>
                  <a:lstStyle/>
                  <a:p>
                    <a:r>
                      <a:t>667.13</a:t>
                    </a:r>
                  </a:p>
                </c:rich>
              </c:tx>
              <c:dLblPos val="t"/>
              <c:showLegendKey val="0"/>
              <c:showVal val="1"/>
              <c:showCatName val="0"/>
              <c:showSerName val="0"/>
              <c:showPercent val="0"/>
              <c:showBubbleSize val="0"/>
            </c:dLbl>
            <c:dLbl>
              <c:idx val="13"/>
              <c:tx>
                <c:rich>
                  <a:bodyPr/>
                  <a:lstStyle/>
                  <a:p>
                    <a:r>
                      <a:t>1081.11</a:t>
                    </a:r>
                  </a:p>
                </c:rich>
              </c:tx>
              <c:dLblPos val="t"/>
              <c:showLegendKey val="0"/>
              <c:showVal val="1"/>
              <c:showCatName val="0"/>
              <c:showSerName val="0"/>
              <c:showPercent val="0"/>
              <c:showBubbleSize val="0"/>
            </c:dLbl>
            <c:dLbl>
              <c:idx val="14"/>
              <c:tx>
                <c:rich>
                  <a:bodyPr/>
                  <a:lstStyle/>
                  <a:p>
                    <a:r>
                      <a:t>1722.99</a:t>
                    </a:r>
                  </a:p>
                </c:rich>
              </c:tx>
              <c:dLblPos val="t"/>
              <c:showLegendKey val="0"/>
              <c:showVal val="1"/>
              <c:showCatName val="0"/>
              <c:showSerName val="0"/>
              <c:showPercent val="0"/>
              <c:showBubbleSize val="0"/>
            </c:dLbl>
            <c:dLbl>
              <c:idx val="15"/>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lvl>
                <c:lvl>
                  <c:pt idx="0">
                    <c:v>No Spray Crema</c:v>
                  </c:pt>
                  <c:pt idx="2">
                    <c:v>No Spray Liquido</c:v>
                  </c:pt>
                  <c:pt idx="4">
                    <c:v>No Spray Gel</c:v>
                  </c:pt>
                  <c:pt idx="6">
                    <c:v>Spray Liquido</c:v>
                  </c:pt>
                  <c:pt idx="8">
                    <c:v>No Spray Fluido</c:v>
                  </c:pt>
                  <c:pt idx="10">
                    <c:v>No Spray Liquido</c:v>
                  </c:pt>
                  <c:pt idx="12">
                    <c:v>No Spray Crema</c:v>
                  </c:pt>
                  <c:pt idx="14">
                    <c:v>No Spray Gel</c:v>
                  </c:pt>
                </c:lvl>
                <c:lvl>
                  <c:pt idx="0">
                    <c:v>Sunscreen Adults</c:v>
                  </c:pt>
                  <c:pt idx="10">
                    <c:v>Sunscreen Kids</c:v>
                  </c:pt>
                </c:lvl>
              </c:multiLvlStrCache>
            </c:multiLvlStrRef>
          </c:cat>
          <c:val>
            <c:numRef>
              <c:f>Sheet1!$E$2:$E$17</c:f>
              <c:numCache>
                <c:formatCode>General</c:formatCode>
                <c:ptCount val="16"/>
                <c:pt idx="0">
                  <c:v>1787.0997</c:v>
                </c:pt>
                <c:pt idx="1">
                  <c:v>1062.9917</c:v>
                </c:pt>
                <c:pt idx="2">
                  <c:v>1382.5326</c:v>
                </c:pt>
                <c:pt idx="3">
                  <c:v>1072.8915</c:v>
                </c:pt>
                <c:pt idx="4">
                  <c:v>1743.6278</c:v>
                </c:pt>
                <c:pt idx="5">
                  <c:v>0.0</c:v>
                </c:pt>
                <c:pt idx="6">
                  <c:v>1380.7984</c:v>
                </c:pt>
                <c:pt idx="7">
                  <c:v>1140.6837</c:v>
                </c:pt>
                <c:pt idx="8">
                  <c:v>10299.2377</c:v>
                </c:pt>
                <c:pt idx="9">
                  <c:v>5413.5</c:v>
                </c:pt>
                <c:pt idx="10">
                  <c:v>1301.417</c:v>
                </c:pt>
                <c:pt idx="11">
                  <c:v>584.8846</c:v>
                </c:pt>
                <c:pt idx="12">
                  <c:v>667.1291</c:v>
                </c:pt>
                <c:pt idx="13">
                  <c:v>1081.1089</c:v>
                </c:pt>
                <c:pt idx="14">
                  <c:v>1722.9855</c:v>
                </c:pt>
                <c:pt idx="15">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Pt>
            <c:idx val="4"/>
            <c:spPr>
              <a:solidFill>
                <a:srgbClr val="BCBBBB"/>
              </a:solidFill>
            </c:spPr>
          </c:dPt>
          <c:dPt>
            <c:idx val="6"/>
            <c:spPr>
              <a:solidFill>
                <a:srgbClr val="BCBBBB"/>
              </a:solidFill>
            </c:spPr>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lvl>
                <c:lvl>
                  <c:pt idx="0">
                    <c:v>No Spray Crema</c:v>
                  </c:pt>
                  <c:pt idx="2">
                    <c:v>No Spray Liquido</c:v>
                  </c:pt>
                  <c:pt idx="4">
                    <c:v>No Spray Gel</c:v>
                  </c:pt>
                  <c:pt idx="6">
                    <c:v>No Spray Fluido</c:v>
                  </c:pt>
                  <c:pt idx="8">
                    <c:v>Spray Liquido</c:v>
                  </c:pt>
                  <c:pt idx="10">
                    <c:v>No Spray Crema</c:v>
                  </c:pt>
                  <c:pt idx="12">
                    <c:v>No Spray Liquido</c:v>
                  </c:pt>
                </c:lvl>
                <c:lvl>
                  <c:pt idx="0">
                    <c:v>Sunscreen Adults</c:v>
                  </c:pt>
                  <c:pt idx="10">
                    <c:v>Sunscreen Kids</c:v>
                  </c:pt>
                </c:lvl>
              </c:multiLvlStrCache>
            </c:multiLvlStrRef>
          </c:cat>
          <c:val>
            <c:numRef>
              <c:f>Sheet1!$D$2:$D$15</c:f>
              <c:numCache>
                <c:formatCode>General</c:formatCode>
                <c:ptCount val="14"/>
                <c:pt idx="0">
                  <c:v>144.4</c:v>
                </c:pt>
                <c:pt idx="1">
                  <c:v>9.7</c:v>
                </c:pt>
                <c:pt idx="2">
                  <c:v>48.0</c:v>
                </c:pt>
                <c:pt idx="3">
                  <c:v>5.6</c:v>
                </c:pt>
                <c:pt idx="4">
                  <c:v>22.4</c:v>
                </c:pt>
                <c:pt idx="5">
                  <c:v>0.0</c:v>
                </c:pt>
                <c:pt idx="6">
                  <c:v>20.4</c:v>
                </c:pt>
                <c:pt idx="7">
                  <c:v>0.1</c:v>
                </c:pt>
                <c:pt idx="8">
                  <c:v>14.1</c:v>
                </c:pt>
                <c:pt idx="9">
                  <c:v>4.3</c:v>
                </c:pt>
                <c:pt idx="10">
                  <c:v>5.2</c:v>
                </c:pt>
                <c:pt idx="11">
                  <c:v>0.5</c:v>
                </c:pt>
                <c:pt idx="12">
                  <c:v>4.8</c:v>
                </c:pt>
                <c:pt idx="13">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212.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025.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75.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3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2170.78</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0595.32</a:t>
                    </a:r>
                  </a:p>
                </c:rich>
              </c:tx>
              <c:dLblPos val="t"/>
              <c:showLegendKey val="0"/>
              <c:showVal val="1"/>
              <c:showCatName val="0"/>
              <c:showSerName val="0"/>
              <c:showPercent val="0"/>
              <c:showBubbleSize val="0"/>
            </c:dLbl>
            <c:dLbl>
              <c:idx val="7"/>
              <c:tx>
                <c:rich>
                  <a:bodyPr/>
                  <a:lstStyle/>
                  <a:p>
                    <a:r>
                      <a:t>5846.71</a:t>
                    </a:r>
                  </a:p>
                </c:rich>
              </c:tx>
              <c:dLblPos val="t"/>
              <c:showLegendKey val="0"/>
              <c:showVal val="1"/>
              <c:showCatName val="0"/>
              <c:showSerName val="0"/>
              <c:showPercent val="0"/>
              <c:showBubbleSize val="0"/>
            </c:dLbl>
            <c:dLbl>
              <c:idx val="8"/>
              <c:tx>
                <c:rich>
                  <a:bodyPr/>
                  <a:lstStyle/>
                  <a:p>
                    <a:r>
                      <a:t>1425.33</a:t>
                    </a:r>
                  </a:p>
                </c:rich>
              </c:tx>
              <c:dLblPos val="t"/>
              <c:showLegendKey val="0"/>
              <c:showVal val="1"/>
              <c:showCatName val="0"/>
              <c:showSerName val="0"/>
              <c:showPercent val="0"/>
              <c:showBubbleSize val="0"/>
            </c:dLbl>
            <c:dLbl>
              <c:idx val="9"/>
              <c:tx>
                <c:rich>
                  <a:bodyPr/>
                  <a:lstStyle/>
                  <a:p>
                    <a:r>
                      <a:t>1139.49</a:t>
                    </a:r>
                  </a:p>
                </c:rich>
              </c:tx>
              <c:dLblPos val="t"/>
              <c:showLegendKey val="0"/>
              <c:showVal val="1"/>
              <c:showCatName val="0"/>
              <c:showSerName val="0"/>
              <c:showPercent val="0"/>
              <c:showBubbleSize val="0"/>
            </c:dLbl>
            <c:dLbl>
              <c:idx val="10"/>
              <c:tx>
                <c:rich>
                  <a:bodyPr/>
                  <a:lstStyle/>
                  <a:p>
                    <a:r>
                      <a:t>717.41</a:t>
                    </a:r>
                  </a:p>
                </c:rich>
              </c:tx>
              <c:dLblPos val="t"/>
              <c:showLegendKey val="0"/>
              <c:showVal val="1"/>
              <c:showCatName val="0"/>
              <c:showSerName val="0"/>
              <c:showPercent val="0"/>
              <c:showBubbleSize val="0"/>
            </c:dLbl>
            <c:dLbl>
              <c:idx val="11"/>
              <c:tx>
                <c:rich>
                  <a:bodyPr/>
                  <a:lstStyle/>
                  <a:p>
                    <a:r>
                      <a:t>1045.9</a:t>
                    </a:r>
                  </a:p>
                </c:rich>
              </c:tx>
              <c:dLblPos val="t"/>
              <c:showLegendKey val="0"/>
              <c:showVal val="1"/>
              <c:showCatName val="0"/>
              <c:showSerName val="0"/>
              <c:showPercent val="0"/>
              <c:showBubbleSize val="0"/>
            </c:dLbl>
            <c:dLbl>
              <c:idx val="12"/>
              <c:tx>
                <c:rich>
                  <a:bodyPr/>
                  <a:lstStyle/>
                  <a:p>
                    <a:r>
                      <a:t>1401.01</a:t>
                    </a:r>
                  </a:p>
                </c:rich>
              </c:tx>
              <c:dLblPos val="t"/>
              <c:showLegendKey val="0"/>
              <c:showVal val="1"/>
              <c:showCatName val="0"/>
              <c:showSerName val="0"/>
              <c:showPercent val="0"/>
              <c:showBubbleSize val="0"/>
            </c:dLbl>
            <c:dLbl>
              <c:idx val="13"/>
              <c:tx>
                <c:rich>
                  <a:bodyPr/>
                  <a:lstStyle/>
                  <a:p>
                    <a:r>
                      <a:t>2552.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lvl>
                <c:lvl>
                  <c:pt idx="0">
                    <c:v>No Spray Crema</c:v>
                  </c:pt>
                  <c:pt idx="2">
                    <c:v>No Spray Liquido</c:v>
                  </c:pt>
                  <c:pt idx="4">
                    <c:v>No Spray Gel</c:v>
                  </c:pt>
                  <c:pt idx="6">
                    <c:v>No Spray Fluido</c:v>
                  </c:pt>
                  <c:pt idx="8">
                    <c:v>Spray Liquido</c:v>
                  </c:pt>
                  <c:pt idx="10">
                    <c:v>No Spray Crema</c:v>
                  </c:pt>
                  <c:pt idx="12">
                    <c:v>No Spray Liquido</c:v>
                  </c:pt>
                </c:lvl>
                <c:lvl>
                  <c:pt idx="0">
                    <c:v>Sunscreen Adults</c:v>
                  </c:pt>
                  <c:pt idx="10">
                    <c:v>Sunscreen Kids</c:v>
                  </c:pt>
                </c:lvl>
              </c:multiLvlStrCache>
            </c:multiLvlStrRef>
          </c:cat>
          <c:val>
            <c:numRef>
              <c:f>Sheet1!$E$2:$E$15</c:f>
              <c:numCache>
                <c:formatCode>General</c:formatCode>
                <c:ptCount val="14"/>
                <c:pt idx="0">
                  <c:v>2212.3442</c:v>
                </c:pt>
                <c:pt idx="1">
                  <c:v>1025.9776</c:v>
                </c:pt>
                <c:pt idx="2">
                  <c:v>1375.4544</c:v>
                </c:pt>
                <c:pt idx="3">
                  <c:v>1137.6969</c:v>
                </c:pt>
                <c:pt idx="4">
                  <c:v>2170.7798</c:v>
                </c:pt>
                <c:pt idx="5">
                  <c:v>0.0</c:v>
                </c:pt>
                <c:pt idx="6">
                  <c:v>10595.3196</c:v>
                </c:pt>
                <c:pt idx="7">
                  <c:v>5846.7143</c:v>
                </c:pt>
                <c:pt idx="8">
                  <c:v>1425.3298</c:v>
                </c:pt>
                <c:pt idx="9">
                  <c:v>1139.4895</c:v>
                </c:pt>
                <c:pt idx="10">
                  <c:v>717.4099</c:v>
                </c:pt>
                <c:pt idx="11">
                  <c:v>1045.8996</c:v>
                </c:pt>
                <c:pt idx="12">
                  <c:v>1401.0145</c:v>
                </c:pt>
                <c:pt idx="13">
                  <c:v>2552.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06C09167-592C-4F11-9FB0-B98941311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D2C00263-BDCA-4E7C-B6FB-617F2649E1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8F86920C-EDF3-445D-BF58-C8E50A14F2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8B409BA9-C3C7-4557-9032-73B4F64C4A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E19A120C-9BF9-478E-B34E-926AECA752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524A8568-0BF7-4F6B-9254-4F9BE7D883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1AA97BBB-6211-4ED1-A1B4-5A3FDFFF7D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61A32FF1-C6B1-40EA-9E9C-1586D2570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8.8599</c:v>
                </c:pt>
                <c:pt idx="1">
                  <c:v>239.5594</c:v>
                </c:pt>
                <c:pt idx="2">
                  <c:v>74.9831</c:v>
                </c:pt>
                <c:pt idx="3">
                  <c:v>74.6609</c:v>
                </c:pt>
                <c:pt idx="4">
                  <c:v>741.2413</c:v>
                </c:pt>
                <c:pt idx="5">
                  <c:v>569.5091</c:v>
                </c:pt>
                <c:pt idx="6">
                  <c:v>560.7336</c:v>
                </c:pt>
                <c:pt idx="7">
                  <c:v>137.1001</c:v>
                </c:pt>
              </c:numCache>
            </c:numRef>
          </c:xVal>
          <c:yVal>
            <c:numRef>
              <c:f>Sheet1!$B$2:$B$9</c:f>
              <c:numCache>
                <c:formatCode>General</c:formatCode>
                <c:ptCount val="8"/>
                <c:pt idx="0">
                  <c:v>1.295</c:v>
                </c:pt>
                <c:pt idx="1">
                  <c:v>1.099</c:v>
                </c:pt>
                <c:pt idx="2">
                  <c:v>0.516</c:v>
                </c:pt>
                <c:pt idx="3">
                  <c:v>0.56</c:v>
                </c:pt>
                <c:pt idx="4">
                  <c:v>4.442</c:v>
                </c:pt>
                <c:pt idx="5">
                  <c:v>2.529</c:v>
                </c:pt>
                <c:pt idx="6">
                  <c:v>2.658</c:v>
                </c:pt>
                <c:pt idx="7">
                  <c:v>0.525</c:v>
                </c:pt>
              </c:numCache>
            </c:numRef>
          </c:yVal>
          <c:bubbleSize>
            <c:numRef>
              <c:f>Sheet1!$C$2:$C$9</c:f>
              <c:numCache>
                <c:formatCode>General</c:formatCode>
                <c:ptCount val="8"/>
                <c:pt idx="0">
                  <c:v>12991918</c:v>
                </c:pt>
                <c:pt idx="1">
                  <c:v>7281167</c:v>
                </c:pt>
                <c:pt idx="2">
                  <c:v>2686718</c:v>
                </c:pt>
                <c:pt idx="3">
                  <c:v>1376673</c:v>
                </c:pt>
                <c:pt idx="4">
                  <c:v>405459</c:v>
                </c:pt>
                <c:pt idx="5">
                  <c:v>343414</c:v>
                </c:pt>
                <c:pt idx="6">
                  <c:v>298871</c:v>
                </c:pt>
                <c:pt idx="7">
                  <c:v>15478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89.0"/>
          <c:min val="60.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Pt>
            <c:idx val="4"/>
            <c:spPr>
              <a:solidFill>
                <a:srgbClr val="BCBBBB"/>
              </a:solidFill>
            </c:spPr>
          </c:dPt>
          <c:dPt>
            <c:idx val="6"/>
            <c:spPr>
              <a:solidFill>
                <a:srgbClr val="BCBBBB"/>
              </a:solidFill>
            </c:spPr>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lvl>
                <c:lvl>
                  <c:pt idx="0">
                    <c:v>No Spray Gel</c:v>
                  </c:pt>
                  <c:pt idx="2">
                    <c:v>No Spray Crema</c:v>
                  </c:pt>
                  <c:pt idx="4">
                    <c:v>No Spray Liquido</c:v>
                  </c:pt>
                  <c:pt idx="6">
                    <c:v>Spray Liquido</c:v>
                  </c:pt>
                  <c:pt idx="8">
                    <c:v>No Spray Gel</c:v>
                  </c:pt>
                  <c:pt idx="10">
                    <c:v>No Spray Crema</c:v>
                  </c:pt>
                  <c:pt idx="12">
                    <c:v>No Spray Gel</c:v>
                  </c:pt>
                  <c:pt idx="14">
                    <c:v>No Spray Liquido</c:v>
                  </c:pt>
                </c:lvl>
                <c:lvl>
                  <c:pt idx="0">
                    <c:v>After Sun Adults</c:v>
                  </c:pt>
                  <c:pt idx="2">
                    <c:v>Sunscreen Adults</c:v>
                  </c:pt>
                  <c:pt idx="10">
                    <c:v>Sunscreen Kids</c:v>
                  </c:pt>
                </c:lvl>
              </c:multiLvlStrCache>
            </c:multiLvlStrRef>
          </c:cat>
          <c:val>
            <c:numRef>
              <c:f>Sheet1!$D$2:$D$17</c:f>
              <c:numCache>
                <c:formatCode>General</c:formatCode>
                <c:ptCount val="16"/>
                <c:pt idx="0">
                  <c:v>5.4</c:v>
                </c:pt>
                <c:pt idx="1">
                  <c:v>1.3</c:v>
                </c:pt>
                <c:pt idx="2">
                  <c:v>103.1</c:v>
                </c:pt>
                <c:pt idx="3">
                  <c:v>8.7</c:v>
                </c:pt>
                <c:pt idx="4">
                  <c:v>61.9</c:v>
                </c:pt>
                <c:pt idx="5">
                  <c:v>3.4</c:v>
                </c:pt>
                <c:pt idx="6">
                  <c:v>29.5</c:v>
                </c:pt>
                <c:pt idx="7">
                  <c:v>7.8</c:v>
                </c:pt>
                <c:pt idx="8">
                  <c:v>15.9</c:v>
                </c:pt>
                <c:pt idx="9">
                  <c:v>0.0</c:v>
                </c:pt>
                <c:pt idx="10">
                  <c:v>7.2</c:v>
                </c:pt>
                <c:pt idx="11">
                  <c:v>1.1</c:v>
                </c:pt>
                <c:pt idx="12">
                  <c:v>6.2</c:v>
                </c:pt>
                <c:pt idx="13">
                  <c:v>0.0</c:v>
                </c:pt>
                <c:pt idx="14">
                  <c:v>5.3</c:v>
                </c:pt>
                <c:pt idx="15">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71.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424.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439.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05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309.09</a:t>
                    </a:r>
                  </a:p>
                </c:rich>
              </c:tx>
              <c:dLblPos val="t"/>
              <c:showLegendKey val="0"/>
              <c:showVal val="1"/>
              <c:showCatName val="0"/>
              <c:showSerName val="0"/>
              <c:showPercent val="0"/>
              <c:showBubbleSize val="0"/>
            </c:dLbl>
            <c:dLbl>
              <c:idx val="5"/>
              <c:tx>
                <c:rich>
                  <a:bodyPr/>
                  <a:lstStyle/>
                  <a:p>
                    <a:r>
                      <a:t>1131.81</a:t>
                    </a:r>
                  </a:p>
                </c:rich>
              </c:tx>
              <c:dLblPos val="t"/>
              <c:showLegendKey val="0"/>
              <c:showVal val="1"/>
              <c:showCatName val="0"/>
              <c:showSerName val="0"/>
              <c:showPercent val="0"/>
              <c:showBubbleSize val="0"/>
            </c:dLbl>
            <c:dLbl>
              <c:idx val="6"/>
              <c:tx>
                <c:rich>
                  <a:bodyPr/>
                  <a:lstStyle/>
                  <a:p>
                    <a:r>
                      <a:t>1364.75</a:t>
                    </a:r>
                  </a:p>
                </c:rich>
              </c:tx>
              <c:dLblPos val="t"/>
              <c:showLegendKey val="0"/>
              <c:showVal val="1"/>
              <c:showCatName val="0"/>
              <c:showSerName val="0"/>
              <c:showPercent val="0"/>
              <c:showBubbleSize val="0"/>
            </c:dLbl>
            <c:dLbl>
              <c:idx val="7"/>
              <c:tx>
                <c:rich>
                  <a:bodyPr/>
                  <a:lstStyle/>
                  <a:p>
                    <a:r>
                      <a:t>1251.85</a:t>
                    </a:r>
                  </a:p>
                </c:rich>
              </c:tx>
              <c:dLblPos val="t"/>
              <c:showLegendKey val="0"/>
              <c:showVal val="1"/>
              <c:showCatName val="0"/>
              <c:showSerName val="0"/>
              <c:showPercent val="0"/>
              <c:showBubbleSize val="0"/>
            </c:dLbl>
            <c:dLbl>
              <c:idx val="8"/>
              <c:tx>
                <c:rich>
                  <a:bodyPr/>
                  <a:lstStyle/>
                  <a:p>
                    <a:r>
                      <a:t>1360.65</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dLbl>
              <c:idx val="10"/>
              <c:tx>
                <c:rich>
                  <a:bodyPr/>
                  <a:lstStyle/>
                  <a:p>
                    <a:r>
                      <a:t>706.38</a:t>
                    </a:r>
                  </a:p>
                </c:rich>
              </c:tx>
              <c:dLblPos val="t"/>
              <c:showLegendKey val="0"/>
              <c:showVal val="1"/>
              <c:showCatName val="0"/>
              <c:showSerName val="0"/>
              <c:showPercent val="0"/>
              <c:showBubbleSize val="0"/>
            </c:dLbl>
            <c:dLbl>
              <c:idx val="11"/>
              <c:tx>
                <c:rich>
                  <a:bodyPr/>
                  <a:lstStyle/>
                  <a:p>
                    <a:r>
                      <a:t>907.8</a:t>
                    </a:r>
                  </a:p>
                </c:rich>
              </c:tx>
              <c:dLblPos val="t"/>
              <c:showLegendKey val="0"/>
              <c:showVal val="1"/>
              <c:showCatName val="0"/>
              <c:showSerName val="0"/>
              <c:showPercent val="0"/>
              <c:showBubbleSize val="0"/>
            </c:dLbl>
            <c:dLbl>
              <c:idx val="12"/>
              <c:tx>
                <c:rich>
                  <a:bodyPr/>
                  <a:lstStyle/>
                  <a:p>
                    <a:r>
                      <a:t>1565.17</a:t>
                    </a:r>
                  </a:p>
                </c:rich>
              </c:tx>
              <c:dLblPos val="t"/>
              <c:showLegendKey val="0"/>
              <c:showVal val="1"/>
              <c:showCatName val="0"/>
              <c:showSerName val="0"/>
              <c:showPercent val="0"/>
              <c:showBubbleSize val="0"/>
            </c:dLbl>
            <c:dLbl>
              <c:idx val="13"/>
              <c:tx>
                <c:rich>
                  <a:bodyPr/>
                  <a:lstStyle/>
                  <a:p>
                    <a:r>
                      <a:t>0.0</a:t>
                    </a:r>
                  </a:p>
                </c:rich>
              </c:tx>
              <c:dLblPos val="t"/>
              <c:showLegendKey val="0"/>
              <c:showVal val="1"/>
              <c:showCatName val="0"/>
              <c:showSerName val="0"/>
              <c:showPercent val="0"/>
              <c:showBubbleSize val="0"/>
            </c:dLbl>
            <c:dLbl>
              <c:idx val="14"/>
              <c:tx>
                <c:rich>
                  <a:bodyPr/>
                  <a:lstStyle/>
                  <a:p>
                    <a:r>
                      <a:t>1215.41</a:t>
                    </a:r>
                  </a:p>
                </c:rich>
              </c:tx>
              <c:dLblPos val="t"/>
              <c:showLegendKey val="0"/>
              <c:showVal val="1"/>
              <c:showCatName val="0"/>
              <c:showSerName val="0"/>
              <c:showPercent val="0"/>
              <c:showBubbleSize val="0"/>
            </c:dLbl>
            <c:dLbl>
              <c:idx val="15"/>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lvl>
                <c:lvl>
                  <c:pt idx="0">
                    <c:v>No Spray Gel</c:v>
                  </c:pt>
                  <c:pt idx="2">
                    <c:v>No Spray Crema</c:v>
                  </c:pt>
                  <c:pt idx="4">
                    <c:v>No Spray Liquido</c:v>
                  </c:pt>
                  <c:pt idx="6">
                    <c:v>Spray Liquido</c:v>
                  </c:pt>
                  <c:pt idx="8">
                    <c:v>No Spray Gel</c:v>
                  </c:pt>
                  <c:pt idx="10">
                    <c:v>No Spray Crema</c:v>
                  </c:pt>
                  <c:pt idx="12">
                    <c:v>No Spray Gel</c:v>
                  </c:pt>
                  <c:pt idx="14">
                    <c:v>No Spray Liquido</c:v>
                  </c:pt>
                </c:lvl>
                <c:lvl>
                  <c:pt idx="0">
                    <c:v>After Sun Adults</c:v>
                  </c:pt>
                  <c:pt idx="2">
                    <c:v>Sunscreen Adults</c:v>
                  </c:pt>
                  <c:pt idx="10">
                    <c:v>Sunscreen Kids</c:v>
                  </c:pt>
                </c:lvl>
              </c:multiLvlStrCache>
            </c:multiLvlStrRef>
          </c:cat>
          <c:val>
            <c:numRef>
              <c:f>Sheet1!$E$2:$E$17</c:f>
              <c:numCache>
                <c:formatCode>General</c:formatCode>
                <c:ptCount val="16"/>
                <c:pt idx="0">
                  <c:v>571.5165</c:v>
                </c:pt>
                <c:pt idx="1">
                  <c:v>424.456</c:v>
                </c:pt>
                <c:pt idx="2">
                  <c:v>1439.95</c:v>
                </c:pt>
                <c:pt idx="3">
                  <c:v>1053.4043</c:v>
                </c:pt>
                <c:pt idx="4">
                  <c:v>1309.0881</c:v>
                </c:pt>
                <c:pt idx="5">
                  <c:v>1131.8087</c:v>
                </c:pt>
                <c:pt idx="6">
                  <c:v>1364.7523</c:v>
                </c:pt>
                <c:pt idx="7">
                  <c:v>1251.8498</c:v>
                </c:pt>
                <c:pt idx="8">
                  <c:v>1360.6511</c:v>
                </c:pt>
                <c:pt idx="9">
                  <c:v>0.0</c:v>
                </c:pt>
                <c:pt idx="10">
                  <c:v>706.3781</c:v>
                </c:pt>
                <c:pt idx="11">
                  <c:v>907.7985</c:v>
                </c:pt>
                <c:pt idx="12">
                  <c:v>1565.1662</c:v>
                </c:pt>
                <c:pt idx="13">
                  <c:v>0.0</c:v>
                </c:pt>
                <c:pt idx="14">
                  <c:v>1215.4095</c:v>
                </c:pt>
                <c:pt idx="15">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Pt>
            <c:idx val="4"/>
            <c:spPr>
              <a:solidFill>
                <a:srgbClr val="BCBBBB"/>
              </a:solidFill>
            </c:spPr>
          </c:dPt>
          <c:dPt>
            <c:idx val="6"/>
            <c:spPr>
              <a:solidFill>
                <a:srgbClr val="BCBBBB"/>
              </a:solidFill>
            </c:spPr>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lvl>
                <c:lvl>
                  <c:pt idx="0">
                    <c:v>No Spray Crema</c:v>
                  </c:pt>
                  <c:pt idx="2">
                    <c:v>No Spray Liquido</c:v>
                  </c:pt>
                  <c:pt idx="4">
                    <c:v>No Spray Gel</c:v>
                  </c:pt>
                  <c:pt idx="6">
                    <c:v>Spray Liquido</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D$2:$D$17</c:f>
              <c:numCache>
                <c:formatCode>General</c:formatCode>
                <c:ptCount val="16"/>
                <c:pt idx="0">
                  <c:v>118.4</c:v>
                </c:pt>
                <c:pt idx="1">
                  <c:v>10.3</c:v>
                </c:pt>
                <c:pt idx="2">
                  <c:v>55.1</c:v>
                </c:pt>
                <c:pt idx="3">
                  <c:v>4.6</c:v>
                </c:pt>
                <c:pt idx="4">
                  <c:v>17.9</c:v>
                </c:pt>
                <c:pt idx="5">
                  <c:v>0.0</c:v>
                </c:pt>
                <c:pt idx="6">
                  <c:v>15.6</c:v>
                </c:pt>
                <c:pt idx="7">
                  <c:v>4.4</c:v>
                </c:pt>
                <c:pt idx="8">
                  <c:v>8.6</c:v>
                </c:pt>
                <c:pt idx="9">
                  <c:v>0.1</c:v>
                </c:pt>
                <c:pt idx="10">
                  <c:v>6.1</c:v>
                </c:pt>
                <c:pt idx="11">
                  <c:v>0.9</c:v>
                </c:pt>
                <c:pt idx="12">
                  <c:v>6.0</c:v>
                </c:pt>
                <c:pt idx="13">
                  <c:v>0.0</c:v>
                </c:pt>
                <c:pt idx="14">
                  <c:v>4.6</c:v>
                </c:pt>
                <c:pt idx="15">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59.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056.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63.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095.0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729.46</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388.07</a:t>
                    </a:r>
                  </a:p>
                </c:rich>
              </c:tx>
              <c:dLblPos val="t"/>
              <c:showLegendKey val="0"/>
              <c:showVal val="1"/>
              <c:showCatName val="0"/>
              <c:showSerName val="0"/>
              <c:showPercent val="0"/>
              <c:showBubbleSize val="0"/>
            </c:dLbl>
            <c:dLbl>
              <c:idx val="7"/>
              <c:tx>
                <c:rich>
                  <a:bodyPr/>
                  <a:lstStyle/>
                  <a:p>
                    <a:r>
                      <a:t>1175.05</a:t>
                    </a:r>
                  </a:p>
                </c:rich>
              </c:tx>
              <c:dLblPos val="t"/>
              <c:showLegendKey val="0"/>
              <c:showVal val="1"/>
              <c:showCatName val="0"/>
              <c:showSerName val="0"/>
              <c:showPercent val="0"/>
              <c:showBubbleSize val="0"/>
            </c:dLbl>
            <c:dLbl>
              <c:idx val="8"/>
              <c:tx>
                <c:rich>
                  <a:bodyPr/>
                  <a:lstStyle/>
                  <a:p>
                    <a:r>
                      <a:t>11592.53</a:t>
                    </a:r>
                  </a:p>
                </c:rich>
              </c:tx>
              <c:dLblPos val="t"/>
              <c:showLegendKey val="0"/>
              <c:showVal val="1"/>
              <c:showCatName val="0"/>
              <c:showSerName val="0"/>
              <c:showPercent val="0"/>
              <c:showBubbleSize val="0"/>
            </c:dLbl>
            <c:dLbl>
              <c:idx val="9"/>
              <c:tx>
                <c:rich>
                  <a:bodyPr/>
                  <a:lstStyle/>
                  <a:p>
                    <a:r>
                      <a:t>5096.5</a:t>
                    </a:r>
                  </a:p>
                </c:rich>
              </c:tx>
              <c:dLblPos val="t"/>
              <c:showLegendKey val="0"/>
              <c:showVal val="1"/>
              <c:showCatName val="0"/>
              <c:showSerName val="0"/>
              <c:showPercent val="0"/>
              <c:showBubbleSize val="0"/>
            </c:dLbl>
            <c:dLbl>
              <c:idx val="10"/>
              <c:tx>
                <c:rich>
                  <a:bodyPr/>
                  <a:lstStyle/>
                  <a:p>
                    <a:r>
                      <a:t>682.45</a:t>
                    </a:r>
                  </a:p>
                </c:rich>
              </c:tx>
              <c:dLblPos val="t"/>
              <c:showLegendKey val="0"/>
              <c:showVal val="1"/>
              <c:showCatName val="0"/>
              <c:showSerName val="0"/>
              <c:showPercent val="0"/>
              <c:showBubbleSize val="0"/>
            </c:dLbl>
            <c:dLbl>
              <c:idx val="11"/>
              <c:tx>
                <c:rich>
                  <a:bodyPr/>
                  <a:lstStyle/>
                  <a:p>
                    <a:r>
                      <a:t>1070.52</a:t>
                    </a:r>
                  </a:p>
                </c:rich>
              </c:tx>
              <c:dLblPos val="t"/>
              <c:showLegendKey val="0"/>
              <c:showVal val="1"/>
              <c:showCatName val="0"/>
              <c:showSerName val="0"/>
              <c:showPercent val="0"/>
              <c:showBubbleSize val="0"/>
            </c:dLbl>
            <c:dLbl>
              <c:idx val="12"/>
              <c:tx>
                <c:rich>
                  <a:bodyPr/>
                  <a:lstStyle/>
                  <a:p>
                    <a:r>
                      <a:t>1303.13</a:t>
                    </a:r>
                  </a:p>
                </c:rich>
              </c:tx>
              <c:dLblPos val="t"/>
              <c:showLegendKey val="0"/>
              <c:showVal val="1"/>
              <c:showCatName val="0"/>
              <c:showSerName val="0"/>
              <c:showPercent val="0"/>
              <c:showBubbleSize val="0"/>
            </c:dLbl>
            <c:dLbl>
              <c:idx val="13"/>
              <c:tx>
                <c:rich>
                  <a:bodyPr/>
                  <a:lstStyle/>
                  <a:p>
                    <a:r>
                      <a:t>849.29</a:t>
                    </a:r>
                  </a:p>
                </c:rich>
              </c:tx>
              <c:dLblPos val="t"/>
              <c:showLegendKey val="0"/>
              <c:showVal val="1"/>
              <c:showCatName val="0"/>
              <c:showSerName val="0"/>
              <c:showPercent val="0"/>
              <c:showBubbleSize val="0"/>
            </c:dLbl>
            <c:dLbl>
              <c:idx val="14"/>
              <c:tx>
                <c:rich>
                  <a:bodyPr/>
                  <a:lstStyle/>
                  <a:p>
                    <a:r>
                      <a:t>1696.94</a:t>
                    </a:r>
                  </a:p>
                </c:rich>
              </c:tx>
              <c:dLblPos val="t"/>
              <c:showLegendKey val="0"/>
              <c:showVal val="1"/>
              <c:showCatName val="0"/>
              <c:showSerName val="0"/>
              <c:showPercent val="0"/>
              <c:showBubbleSize val="0"/>
            </c:dLbl>
            <c:dLbl>
              <c:idx val="15"/>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lvl>
                <c:lvl>
                  <c:pt idx="0">
                    <c:v>No Spray Crema</c:v>
                  </c:pt>
                  <c:pt idx="2">
                    <c:v>No Spray Liquido</c:v>
                  </c:pt>
                  <c:pt idx="4">
                    <c:v>No Spray Gel</c:v>
                  </c:pt>
                  <c:pt idx="6">
                    <c:v>Spray Liquido</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E$2:$E$17</c:f>
              <c:numCache>
                <c:formatCode>General</c:formatCode>
                <c:ptCount val="16"/>
                <c:pt idx="0">
                  <c:v>1659.42</c:v>
                </c:pt>
                <c:pt idx="1">
                  <c:v>1056.3788</c:v>
                </c:pt>
                <c:pt idx="2">
                  <c:v>1363.1175</c:v>
                </c:pt>
                <c:pt idx="3">
                  <c:v>1095.0482</c:v>
                </c:pt>
                <c:pt idx="4">
                  <c:v>1729.4639</c:v>
                </c:pt>
                <c:pt idx="5">
                  <c:v>0.0</c:v>
                </c:pt>
                <c:pt idx="6">
                  <c:v>1388.0657</c:v>
                </c:pt>
                <c:pt idx="7">
                  <c:v>1175.0486</c:v>
                </c:pt>
                <c:pt idx="8">
                  <c:v>11592.5312</c:v>
                </c:pt>
                <c:pt idx="9">
                  <c:v>5096.5</c:v>
                </c:pt>
                <c:pt idx="10">
                  <c:v>682.4479</c:v>
                </c:pt>
                <c:pt idx="11">
                  <c:v>1070.5156</c:v>
                </c:pt>
                <c:pt idx="12">
                  <c:v>1303.1286</c:v>
                </c:pt>
                <c:pt idx="13">
                  <c:v>849.2857</c:v>
                </c:pt>
                <c:pt idx="14">
                  <c:v>1696.9402</c:v>
                </c:pt>
                <c:pt idx="15">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Pt>
            <c:idx val="4"/>
            <c:spPr>
              <a:solidFill>
                <a:srgbClr val="BCBBBB"/>
              </a:solidFill>
            </c:spPr>
          </c:dPt>
          <c:dPt>
            <c:idx val="6"/>
            <c:spPr>
              <a:solidFill>
                <a:srgbClr val="BCBBBB"/>
              </a:solidFill>
            </c:spPr>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lvl>
                <c:lvl>
                  <c:pt idx="0">
                    <c:v>No Spray Crema</c:v>
                  </c:pt>
                  <c:pt idx="2">
                    <c:v>No Spray Liquido</c:v>
                  </c:pt>
                  <c:pt idx="4">
                    <c:v>Spray Liquido</c:v>
                  </c:pt>
                  <c:pt idx="6">
                    <c:v>No Spray Gel</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D$2:$D$17</c:f>
              <c:numCache>
                <c:formatCode>General</c:formatCode>
                <c:ptCount val="16"/>
                <c:pt idx="0">
                  <c:v>109.4</c:v>
                </c:pt>
                <c:pt idx="1">
                  <c:v>12.1</c:v>
                </c:pt>
                <c:pt idx="2">
                  <c:v>50.9</c:v>
                </c:pt>
                <c:pt idx="3">
                  <c:v>4.8</c:v>
                </c:pt>
                <c:pt idx="4">
                  <c:v>22.7</c:v>
                </c:pt>
                <c:pt idx="5">
                  <c:v>7.6</c:v>
                </c:pt>
                <c:pt idx="6">
                  <c:v>13.9</c:v>
                </c:pt>
                <c:pt idx="7">
                  <c:v>0.0</c:v>
                </c:pt>
                <c:pt idx="8">
                  <c:v>7.9</c:v>
                </c:pt>
                <c:pt idx="9">
                  <c:v>0.1</c:v>
                </c:pt>
                <c:pt idx="10">
                  <c:v>5.9</c:v>
                </c:pt>
                <c:pt idx="11">
                  <c:v>0.9</c:v>
                </c:pt>
                <c:pt idx="12">
                  <c:v>4.7</c:v>
                </c:pt>
                <c:pt idx="13">
                  <c:v>0.0</c:v>
                </c:pt>
                <c:pt idx="14">
                  <c:v>3.7</c:v>
                </c:pt>
                <c:pt idx="15">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6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07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79.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17.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479.37</a:t>
                    </a:r>
                  </a:p>
                </c:rich>
              </c:tx>
              <c:dLblPos val="t"/>
              <c:showLegendKey val="0"/>
              <c:showVal val="1"/>
              <c:showCatName val="0"/>
              <c:showSerName val="0"/>
              <c:showPercent val="0"/>
              <c:showBubbleSize val="0"/>
            </c:dLbl>
            <c:dLbl>
              <c:idx val="5"/>
              <c:tx>
                <c:rich>
                  <a:bodyPr/>
                  <a:lstStyle/>
                  <a:p>
                    <a:r>
                      <a:t>1396.42</a:t>
                    </a:r>
                  </a:p>
                </c:rich>
              </c:tx>
              <c:dLblPos val="t"/>
              <c:showLegendKey val="0"/>
              <c:showVal val="1"/>
              <c:showCatName val="0"/>
              <c:showSerName val="0"/>
              <c:showPercent val="0"/>
              <c:showBubbleSize val="0"/>
            </c:dLbl>
            <c:dLbl>
              <c:idx val="6"/>
              <c:tx>
                <c:rich>
                  <a:bodyPr/>
                  <a:lstStyle/>
                  <a:p>
                    <a:r>
                      <a:t>1874.5</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dLbl>
              <c:idx val="8"/>
              <c:tx>
                <c:rich>
                  <a:bodyPr/>
                  <a:lstStyle/>
                  <a:p>
                    <a:r>
                      <a:t>11640.68</a:t>
                    </a:r>
                  </a:p>
                </c:rich>
              </c:tx>
              <c:dLblPos val="t"/>
              <c:showLegendKey val="0"/>
              <c:showVal val="1"/>
              <c:showCatName val="0"/>
              <c:showSerName val="0"/>
              <c:showPercent val="0"/>
              <c:showBubbleSize val="0"/>
            </c:dLbl>
            <c:dLbl>
              <c:idx val="9"/>
              <c:tx>
                <c:rich>
                  <a:bodyPr/>
                  <a:lstStyle/>
                  <a:p>
                    <a:r>
                      <a:t>6429.07</a:t>
                    </a:r>
                  </a:p>
                </c:rich>
              </c:tx>
              <c:dLblPos val="t"/>
              <c:showLegendKey val="0"/>
              <c:showVal val="1"/>
              <c:showCatName val="0"/>
              <c:showSerName val="0"/>
              <c:showPercent val="0"/>
              <c:showBubbleSize val="0"/>
            </c:dLbl>
            <c:dLbl>
              <c:idx val="10"/>
              <c:tx>
                <c:rich>
                  <a:bodyPr/>
                  <a:lstStyle/>
                  <a:p>
                    <a:r>
                      <a:t>699.1</a:t>
                    </a:r>
                  </a:p>
                </c:rich>
              </c:tx>
              <c:dLblPos val="t"/>
              <c:showLegendKey val="0"/>
              <c:showVal val="1"/>
              <c:showCatName val="0"/>
              <c:showSerName val="0"/>
              <c:showPercent val="0"/>
              <c:showBubbleSize val="0"/>
            </c:dLbl>
            <c:dLbl>
              <c:idx val="11"/>
              <c:tx>
                <c:rich>
                  <a:bodyPr/>
                  <a:lstStyle/>
                  <a:p>
                    <a:r>
                      <a:t>1226.73</a:t>
                    </a:r>
                  </a:p>
                </c:rich>
              </c:tx>
              <c:dLblPos val="t"/>
              <c:showLegendKey val="0"/>
              <c:showVal val="1"/>
              <c:showCatName val="0"/>
              <c:showSerName val="0"/>
              <c:showPercent val="0"/>
              <c:showBubbleSize val="0"/>
            </c:dLbl>
            <c:dLbl>
              <c:idx val="12"/>
              <c:tx>
                <c:rich>
                  <a:bodyPr/>
                  <a:lstStyle/>
                  <a:p>
                    <a:r>
                      <a:t>1369.9</a:t>
                    </a:r>
                  </a:p>
                </c:rich>
              </c:tx>
              <c:dLblPos val="t"/>
              <c:showLegendKey val="0"/>
              <c:showVal val="1"/>
              <c:showCatName val="0"/>
              <c:showSerName val="0"/>
              <c:showPercent val="0"/>
              <c:showBubbleSize val="0"/>
            </c:dLbl>
            <c:dLbl>
              <c:idx val="13"/>
              <c:tx>
                <c:rich>
                  <a:bodyPr/>
                  <a:lstStyle/>
                  <a:p>
                    <a:r>
                      <a:t>1008.2</a:t>
                    </a:r>
                  </a:p>
                </c:rich>
              </c:tx>
              <c:dLblPos val="t"/>
              <c:showLegendKey val="0"/>
              <c:showVal val="1"/>
              <c:showCatName val="0"/>
              <c:showSerName val="0"/>
              <c:showPercent val="0"/>
              <c:showBubbleSize val="0"/>
            </c:dLbl>
            <c:dLbl>
              <c:idx val="14"/>
              <c:tx>
                <c:rich>
                  <a:bodyPr/>
                  <a:lstStyle/>
                  <a:p>
                    <a:r>
                      <a:t>1774.97</a:t>
                    </a:r>
                  </a:p>
                </c:rich>
              </c:tx>
              <c:dLblPos val="t"/>
              <c:showLegendKey val="0"/>
              <c:showVal val="1"/>
              <c:showCatName val="0"/>
              <c:showSerName val="0"/>
              <c:showPercent val="0"/>
              <c:showBubbleSize val="0"/>
            </c:dLbl>
            <c:dLbl>
              <c:idx val="15"/>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lvl>
                <c:lvl>
                  <c:pt idx="0">
                    <c:v>No Spray Crema</c:v>
                  </c:pt>
                  <c:pt idx="2">
                    <c:v>No Spray Liquido</c:v>
                  </c:pt>
                  <c:pt idx="4">
                    <c:v>Spray Liquido</c:v>
                  </c:pt>
                  <c:pt idx="6">
                    <c:v>No Spray Gel</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E$2:$E$17</c:f>
              <c:numCache>
                <c:formatCode>General</c:formatCode>
                <c:ptCount val="16"/>
                <c:pt idx="0">
                  <c:v>1665.6965</c:v>
                </c:pt>
                <c:pt idx="1">
                  <c:v>1072.7638</c:v>
                </c:pt>
                <c:pt idx="2">
                  <c:v>1379.461</c:v>
                </c:pt>
                <c:pt idx="3">
                  <c:v>1117.984</c:v>
                </c:pt>
                <c:pt idx="4">
                  <c:v>1479.3656</c:v>
                </c:pt>
                <c:pt idx="5">
                  <c:v>1396.4237</c:v>
                </c:pt>
                <c:pt idx="6">
                  <c:v>1874.4972</c:v>
                </c:pt>
                <c:pt idx="7">
                  <c:v>0.0</c:v>
                </c:pt>
                <c:pt idx="8">
                  <c:v>11640.683</c:v>
                </c:pt>
                <c:pt idx="9">
                  <c:v>6429.0714</c:v>
                </c:pt>
                <c:pt idx="10">
                  <c:v>699.103</c:v>
                </c:pt>
                <c:pt idx="11">
                  <c:v>1226.7301</c:v>
                </c:pt>
                <c:pt idx="12">
                  <c:v>1369.9003</c:v>
                </c:pt>
                <c:pt idx="13">
                  <c:v>1008.2</c:v>
                </c:pt>
                <c:pt idx="14">
                  <c:v>1774.9658</c:v>
                </c:pt>
                <c:pt idx="15">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Pt>
            <c:idx val="4"/>
            <c:spPr>
              <a:solidFill>
                <a:srgbClr val="BCBBBB"/>
              </a:solidFill>
            </c:spPr>
          </c:dPt>
          <c:dPt>
            <c:idx val="6"/>
            <c:spPr>
              <a:solidFill>
                <a:srgbClr val="BCBBBB"/>
              </a:solidFill>
            </c:spPr>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lvl>
                <c:lvl>
                  <c:pt idx="0">
                    <c:v>No Spray Crema</c:v>
                  </c:pt>
                  <c:pt idx="2">
                    <c:v>No Spray Liquido</c:v>
                  </c:pt>
                  <c:pt idx="4">
                    <c:v>Spray Liquido</c:v>
                  </c:pt>
                  <c:pt idx="6">
                    <c:v>No Spray Gel</c:v>
                  </c:pt>
                  <c:pt idx="8">
                    <c:v>No Spray Fluido</c:v>
                  </c:pt>
                  <c:pt idx="10">
                    <c:v>No Spray Liquido</c:v>
                  </c:pt>
                  <c:pt idx="12">
                    <c:v>No Spray Crema</c:v>
                  </c:pt>
                  <c:pt idx="14">
                    <c:v>No Spray Gel</c:v>
                  </c:pt>
                </c:lvl>
                <c:lvl>
                  <c:pt idx="0">
                    <c:v>Sunscreen Adults</c:v>
                  </c:pt>
                  <c:pt idx="10">
                    <c:v>Sunscreen Kids</c:v>
                  </c:pt>
                </c:lvl>
              </c:multiLvlStrCache>
            </c:multiLvlStrRef>
          </c:cat>
          <c:val>
            <c:numRef>
              <c:f>Sheet1!$D$2:$D$17</c:f>
              <c:numCache>
                <c:formatCode>General</c:formatCode>
                <c:ptCount val="16"/>
                <c:pt idx="0">
                  <c:v>74.6</c:v>
                </c:pt>
                <c:pt idx="1">
                  <c:v>7.2</c:v>
                </c:pt>
                <c:pt idx="2">
                  <c:v>40.1</c:v>
                </c:pt>
                <c:pt idx="3">
                  <c:v>3.1</c:v>
                </c:pt>
                <c:pt idx="4">
                  <c:v>23.6</c:v>
                </c:pt>
                <c:pt idx="5">
                  <c:v>8.6</c:v>
                </c:pt>
                <c:pt idx="6">
                  <c:v>10.1</c:v>
                </c:pt>
                <c:pt idx="7">
                  <c:v>0.0</c:v>
                </c:pt>
                <c:pt idx="8">
                  <c:v>3.8</c:v>
                </c:pt>
                <c:pt idx="9">
                  <c:v>0.1</c:v>
                </c:pt>
                <c:pt idx="10">
                  <c:v>4.2</c:v>
                </c:pt>
                <c:pt idx="11">
                  <c:v>0.0</c:v>
                </c:pt>
                <c:pt idx="12">
                  <c:v>3.4</c:v>
                </c:pt>
                <c:pt idx="13">
                  <c:v>0.7</c:v>
                </c:pt>
                <c:pt idx="14">
                  <c:v>3.1</c:v>
                </c:pt>
                <c:pt idx="15">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78.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083.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8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11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451.22</a:t>
                    </a:r>
                  </a:p>
                </c:rich>
              </c:tx>
              <c:dLblPos val="t"/>
              <c:showLegendKey val="0"/>
              <c:showVal val="1"/>
              <c:showCatName val="0"/>
              <c:showSerName val="0"/>
              <c:showPercent val="0"/>
              <c:showBubbleSize val="0"/>
            </c:dLbl>
            <c:dLbl>
              <c:idx val="5"/>
              <c:tx>
                <c:rich>
                  <a:bodyPr/>
                  <a:lstStyle/>
                  <a:p>
                    <a:r>
                      <a:t>1380.52</a:t>
                    </a:r>
                  </a:p>
                </c:rich>
              </c:tx>
              <c:dLblPos val="t"/>
              <c:showLegendKey val="0"/>
              <c:showVal val="1"/>
              <c:showCatName val="0"/>
              <c:showSerName val="0"/>
              <c:showPercent val="0"/>
              <c:showBubbleSize val="0"/>
            </c:dLbl>
            <c:dLbl>
              <c:idx val="6"/>
              <c:tx>
                <c:rich>
                  <a:bodyPr/>
                  <a:lstStyle/>
                  <a:p>
                    <a:r>
                      <a:t>1658.92</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dLbl>
              <c:idx val="8"/>
              <c:tx>
                <c:rich>
                  <a:bodyPr/>
                  <a:lstStyle/>
                  <a:p>
                    <a:r>
                      <a:t>11328.66</a:t>
                    </a:r>
                  </a:p>
                </c:rich>
              </c:tx>
              <c:dLblPos val="t"/>
              <c:showLegendKey val="0"/>
              <c:showVal val="1"/>
              <c:showCatName val="0"/>
              <c:showSerName val="0"/>
              <c:showPercent val="0"/>
              <c:showBubbleSize val="0"/>
            </c:dLbl>
            <c:dLbl>
              <c:idx val="9"/>
              <c:tx>
                <c:rich>
                  <a:bodyPr/>
                  <a:lstStyle/>
                  <a:p>
                    <a:r>
                      <a:t>6206.09</a:t>
                    </a:r>
                  </a:p>
                </c:rich>
              </c:tx>
              <c:dLblPos val="t"/>
              <c:showLegendKey val="0"/>
              <c:showVal val="1"/>
              <c:showCatName val="0"/>
              <c:showSerName val="0"/>
              <c:showPercent val="0"/>
              <c:showBubbleSize val="0"/>
            </c:dLbl>
            <c:dLbl>
              <c:idx val="10"/>
              <c:tx>
                <c:rich>
                  <a:bodyPr/>
                  <a:lstStyle/>
                  <a:p>
                    <a:r>
                      <a:t>1343.6</a:t>
                    </a:r>
                  </a:p>
                </c:rich>
              </c:tx>
              <c:dLblPos val="t"/>
              <c:showLegendKey val="0"/>
              <c:showVal val="1"/>
              <c:showCatName val="0"/>
              <c:showSerName val="0"/>
              <c:showPercent val="0"/>
              <c:showBubbleSize val="0"/>
            </c:dLbl>
            <c:dLbl>
              <c:idx val="11"/>
              <c:tx>
                <c:rich>
                  <a:bodyPr/>
                  <a:lstStyle/>
                  <a:p>
                    <a:r>
                      <a:t>647.1</a:t>
                    </a:r>
                  </a:p>
                </c:rich>
              </c:tx>
              <c:dLblPos val="t"/>
              <c:showLegendKey val="0"/>
              <c:showVal val="1"/>
              <c:showCatName val="0"/>
              <c:showSerName val="0"/>
              <c:showPercent val="0"/>
              <c:showBubbleSize val="0"/>
            </c:dLbl>
            <c:dLbl>
              <c:idx val="12"/>
              <c:tx>
                <c:rich>
                  <a:bodyPr/>
                  <a:lstStyle/>
                  <a:p>
                    <a:r>
                      <a:t>727.51</a:t>
                    </a:r>
                  </a:p>
                </c:rich>
              </c:tx>
              <c:dLblPos val="t"/>
              <c:showLegendKey val="0"/>
              <c:showVal val="1"/>
              <c:showCatName val="0"/>
              <c:showSerName val="0"/>
              <c:showPercent val="0"/>
              <c:showBubbleSize val="0"/>
            </c:dLbl>
            <c:dLbl>
              <c:idx val="13"/>
              <c:tx>
                <c:rich>
                  <a:bodyPr/>
                  <a:lstStyle/>
                  <a:p>
                    <a:r>
                      <a:t>1102.77</a:t>
                    </a:r>
                  </a:p>
                </c:rich>
              </c:tx>
              <c:dLblPos val="t"/>
              <c:showLegendKey val="0"/>
              <c:showVal val="1"/>
              <c:showCatName val="0"/>
              <c:showSerName val="0"/>
              <c:showPercent val="0"/>
              <c:showBubbleSize val="0"/>
            </c:dLbl>
            <c:dLbl>
              <c:idx val="14"/>
              <c:tx>
                <c:rich>
                  <a:bodyPr/>
                  <a:lstStyle/>
                  <a:p>
                    <a:r>
                      <a:t>1811.1</a:t>
                    </a:r>
                  </a:p>
                </c:rich>
              </c:tx>
              <c:dLblPos val="t"/>
              <c:showLegendKey val="0"/>
              <c:showVal val="1"/>
              <c:showCatName val="0"/>
              <c:showSerName val="0"/>
              <c:showPercent val="0"/>
              <c:showBubbleSize val="0"/>
            </c:dLbl>
            <c:dLbl>
              <c:idx val="15"/>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anana Boat</c:v>
                  </c:pt>
                  <c:pt idx="2">
                    <c:v>Total</c:v>
                  </c:pt>
                  <c:pt idx="3">
                    <c:v>Banana Boat</c:v>
                  </c:pt>
                  <c:pt idx="4">
                    <c:v>Total</c:v>
                  </c:pt>
                  <c:pt idx="5">
                    <c:v>Banana Boat</c:v>
                  </c:pt>
                  <c:pt idx="6">
                    <c:v>Total</c:v>
                  </c:pt>
                  <c:pt idx="7">
                    <c:v>Banana Boat</c:v>
                  </c:pt>
                  <c:pt idx="8">
                    <c:v>Total</c:v>
                  </c:pt>
                  <c:pt idx="9">
                    <c:v>Banana Boat</c:v>
                  </c:pt>
                  <c:pt idx="10">
                    <c:v>Total</c:v>
                  </c:pt>
                  <c:pt idx="11">
                    <c:v>Banana Boat</c:v>
                  </c:pt>
                  <c:pt idx="12">
                    <c:v>Total</c:v>
                  </c:pt>
                  <c:pt idx="13">
                    <c:v>Banana Boat</c:v>
                  </c:pt>
                  <c:pt idx="14">
                    <c:v>Total</c:v>
                  </c:pt>
                  <c:pt idx="15">
                    <c:v>Banana Boat</c:v>
                  </c:pt>
                </c:lvl>
                <c:lvl>
                  <c:pt idx="0">
                    <c:v>No Spray Crema</c:v>
                  </c:pt>
                  <c:pt idx="2">
                    <c:v>No Spray Liquido</c:v>
                  </c:pt>
                  <c:pt idx="4">
                    <c:v>Spray Liquido</c:v>
                  </c:pt>
                  <c:pt idx="6">
                    <c:v>No Spray Gel</c:v>
                  </c:pt>
                  <c:pt idx="8">
                    <c:v>No Spray Fluido</c:v>
                  </c:pt>
                  <c:pt idx="10">
                    <c:v>No Spray Liquido</c:v>
                  </c:pt>
                  <c:pt idx="12">
                    <c:v>No Spray Crema</c:v>
                  </c:pt>
                  <c:pt idx="14">
                    <c:v>No Spray Gel</c:v>
                  </c:pt>
                </c:lvl>
                <c:lvl>
                  <c:pt idx="0">
                    <c:v>Sunscreen Adults</c:v>
                  </c:pt>
                  <c:pt idx="10">
                    <c:v>Sunscreen Kids</c:v>
                  </c:pt>
                </c:lvl>
              </c:multiLvlStrCache>
            </c:multiLvlStrRef>
          </c:cat>
          <c:val>
            <c:numRef>
              <c:f>Sheet1!$E$2:$E$17</c:f>
              <c:numCache>
                <c:formatCode>General</c:formatCode>
                <c:ptCount val="16"/>
                <c:pt idx="0">
                  <c:v>1678.1269</c:v>
                </c:pt>
                <c:pt idx="1">
                  <c:v>1083.9166</c:v>
                </c:pt>
                <c:pt idx="2">
                  <c:v>1384.8006</c:v>
                </c:pt>
                <c:pt idx="3">
                  <c:v>1111.4975</c:v>
                </c:pt>
                <c:pt idx="4">
                  <c:v>1451.2198</c:v>
                </c:pt>
                <c:pt idx="5">
                  <c:v>1380.5202</c:v>
                </c:pt>
                <c:pt idx="6">
                  <c:v>1658.9194</c:v>
                </c:pt>
                <c:pt idx="7">
                  <c:v>0.0</c:v>
                </c:pt>
                <c:pt idx="8">
                  <c:v>11328.6557</c:v>
                </c:pt>
                <c:pt idx="9">
                  <c:v>6206.0909</c:v>
                </c:pt>
                <c:pt idx="10">
                  <c:v>1343.6047</c:v>
                </c:pt>
                <c:pt idx="11">
                  <c:v>647.1</c:v>
                </c:pt>
                <c:pt idx="12">
                  <c:v>727.5068</c:v>
                </c:pt>
                <c:pt idx="13">
                  <c:v>1102.7679</c:v>
                </c:pt>
                <c:pt idx="14">
                  <c:v>1811.1011</c:v>
                </c:pt>
                <c:pt idx="15">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Pt>
            <c:idx val="4"/>
            <c:spPr>
              <a:solidFill>
                <a:srgbClr val="BCBBBB"/>
              </a:solidFill>
            </c:spPr>
          </c:dPt>
          <c:dPt>
            <c:idx val="6"/>
            <c:spPr>
              <a:solidFill>
                <a:srgbClr val="BCBBBB"/>
              </a:solidFill>
            </c:spPr>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lvl>
                <c:lvl>
                  <c:pt idx="0">
                    <c:v>No Spray Crema</c:v>
                  </c:pt>
                  <c:pt idx="2">
                    <c:v>No Spray Liquido</c:v>
                  </c:pt>
                  <c:pt idx="4">
                    <c:v>Spray Liquido</c:v>
                  </c:pt>
                  <c:pt idx="6">
                    <c:v>No Spray Gel</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D$2:$D$17</c:f>
              <c:numCache>
                <c:formatCode>General</c:formatCode>
                <c:ptCount val="16"/>
                <c:pt idx="0">
                  <c:v>712.9</c:v>
                </c:pt>
                <c:pt idx="1">
                  <c:v>0.0</c:v>
                </c:pt>
                <c:pt idx="2">
                  <c:v>331.7</c:v>
                </c:pt>
                <c:pt idx="3">
                  <c:v>12.5</c:v>
                </c:pt>
                <c:pt idx="4">
                  <c:v>124.4</c:v>
                </c:pt>
                <c:pt idx="5">
                  <c:v>0.0</c:v>
                </c:pt>
                <c:pt idx="6">
                  <c:v>102.2</c:v>
                </c:pt>
                <c:pt idx="7">
                  <c:v>0.0</c:v>
                </c:pt>
                <c:pt idx="8">
                  <c:v>54.3</c:v>
                </c:pt>
                <c:pt idx="9">
                  <c:v>0.0</c:v>
                </c:pt>
                <c:pt idx="10">
                  <c:v>34.5</c:v>
                </c:pt>
                <c:pt idx="11">
                  <c:v>0.0</c:v>
                </c:pt>
                <c:pt idx="12">
                  <c:v>32.3</c:v>
                </c:pt>
                <c:pt idx="13">
                  <c:v>0.0</c:v>
                </c:pt>
                <c:pt idx="14">
                  <c:v>26.1</c:v>
                </c:pt>
                <c:pt idx="15">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740.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6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4025.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412.98</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747.7</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dLbl>
              <c:idx val="8"/>
              <c:tx>
                <c:rich>
                  <a:bodyPr/>
                  <a:lstStyle/>
                  <a:p>
                    <a:r>
                      <a:t>10745.72</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dLbl>
              <c:idx val="10"/>
              <c:tx>
                <c:rich>
                  <a:bodyPr/>
                  <a:lstStyle/>
                  <a:p>
                    <a:r>
                      <a:t>696.44</a:t>
                    </a:r>
                  </a:p>
                </c:rich>
              </c:tx>
              <c:dLblPos val="t"/>
              <c:showLegendKey val="0"/>
              <c:showVal val="1"/>
              <c:showCatName val="0"/>
              <c:showSerName val="0"/>
              <c:showPercent val="0"/>
              <c:showBubbleSize val="0"/>
            </c:dLbl>
            <c:dLbl>
              <c:idx val="11"/>
              <c:tx>
                <c:rich>
                  <a:bodyPr/>
                  <a:lstStyle/>
                  <a:p>
                    <a:r>
                      <a:t>0.0</a:t>
                    </a:r>
                  </a:p>
                </c:rich>
              </c:tx>
              <c:dLblPos val="t"/>
              <c:showLegendKey val="0"/>
              <c:showVal val="1"/>
              <c:showCatName val="0"/>
              <c:showSerName val="0"/>
              <c:showPercent val="0"/>
              <c:showBubbleSize val="0"/>
            </c:dLbl>
            <c:dLbl>
              <c:idx val="12"/>
              <c:tx>
                <c:rich>
                  <a:bodyPr/>
                  <a:lstStyle/>
                  <a:p>
                    <a:r>
                      <a:t>1315.27</a:t>
                    </a:r>
                  </a:p>
                </c:rich>
              </c:tx>
              <c:dLblPos val="t"/>
              <c:showLegendKey val="0"/>
              <c:showVal val="1"/>
              <c:showCatName val="0"/>
              <c:showSerName val="0"/>
              <c:showPercent val="0"/>
              <c:showBubbleSize val="0"/>
            </c:dLbl>
            <c:dLbl>
              <c:idx val="13"/>
              <c:tx>
                <c:rich>
                  <a:bodyPr/>
                  <a:lstStyle/>
                  <a:p>
                    <a:r>
                      <a:t>0.0</a:t>
                    </a:r>
                  </a:p>
                </c:rich>
              </c:tx>
              <c:dLblPos val="t"/>
              <c:showLegendKey val="0"/>
              <c:showVal val="1"/>
              <c:showCatName val="0"/>
              <c:showSerName val="0"/>
              <c:showPercent val="0"/>
              <c:showBubbleSize val="0"/>
            </c:dLbl>
            <c:dLbl>
              <c:idx val="14"/>
              <c:tx>
                <c:rich>
                  <a:bodyPr/>
                  <a:lstStyle/>
                  <a:p>
                    <a:r>
                      <a:t>1694.59</a:t>
                    </a:r>
                  </a:p>
                </c:rich>
              </c:tx>
              <c:dLblPos val="t"/>
              <c:showLegendKey val="0"/>
              <c:showVal val="1"/>
              <c:showCatName val="0"/>
              <c:showSerName val="0"/>
              <c:showPercent val="0"/>
              <c:showBubbleSize val="0"/>
            </c:dLbl>
            <c:dLbl>
              <c:idx val="15"/>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lvl>
                <c:lvl>
                  <c:pt idx="0">
                    <c:v>No Spray Crema</c:v>
                  </c:pt>
                  <c:pt idx="2">
                    <c:v>No Spray Liquido</c:v>
                  </c:pt>
                  <c:pt idx="4">
                    <c:v>Spray Liquido</c:v>
                  </c:pt>
                  <c:pt idx="6">
                    <c:v>No Spray Gel</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E$2:$E$17</c:f>
              <c:numCache>
                <c:formatCode>General</c:formatCode>
                <c:ptCount val="16"/>
                <c:pt idx="0">
                  <c:v>1740.6312</c:v>
                </c:pt>
                <c:pt idx="1">
                  <c:v>0.0</c:v>
                </c:pt>
                <c:pt idx="2">
                  <c:v>1363.8256</c:v>
                </c:pt>
                <c:pt idx="3">
                  <c:v>4025.5318</c:v>
                </c:pt>
                <c:pt idx="4">
                  <c:v>1412.978</c:v>
                </c:pt>
                <c:pt idx="5">
                  <c:v>0.0</c:v>
                </c:pt>
                <c:pt idx="6">
                  <c:v>1747.7024</c:v>
                </c:pt>
                <c:pt idx="7">
                  <c:v>0.0</c:v>
                </c:pt>
                <c:pt idx="8">
                  <c:v>10745.7167</c:v>
                </c:pt>
                <c:pt idx="9">
                  <c:v>0.0</c:v>
                </c:pt>
                <c:pt idx="10">
                  <c:v>696.4399</c:v>
                </c:pt>
                <c:pt idx="11">
                  <c:v>0.0</c:v>
                </c:pt>
                <c:pt idx="12">
                  <c:v>1315.2692</c:v>
                </c:pt>
                <c:pt idx="13">
                  <c:v>0.0</c:v>
                </c:pt>
                <c:pt idx="14">
                  <c:v>1694.5946</c:v>
                </c:pt>
                <c:pt idx="15">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Pt>
            <c:idx val="4"/>
            <c:spPr>
              <a:solidFill>
                <a:srgbClr val="BCBBBB"/>
              </a:solidFill>
            </c:spPr>
          </c:dPt>
          <c:dPt>
            <c:idx val="6"/>
            <c:spPr>
              <a:solidFill>
                <a:srgbClr val="BCBBBB"/>
              </a:solidFill>
            </c:spPr>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lvl>
                <c:lvl>
                  <c:pt idx="0">
                    <c:v>No Spray Crema</c:v>
                  </c:pt>
                  <c:pt idx="2">
                    <c:v>No Spray Liquido</c:v>
                  </c:pt>
                  <c:pt idx="4">
                    <c:v>No Spray Gel</c:v>
                  </c:pt>
                  <c:pt idx="6">
                    <c:v>Spray Liquido</c:v>
                  </c:pt>
                  <c:pt idx="8">
                    <c:v>No Spray Fluido</c:v>
                  </c:pt>
                  <c:pt idx="10">
                    <c:v>No Spray Liquido</c:v>
                  </c:pt>
                  <c:pt idx="12">
                    <c:v>No Spray Crema</c:v>
                  </c:pt>
                  <c:pt idx="14">
                    <c:v>No Spray Gel</c:v>
                  </c:pt>
                </c:lvl>
                <c:lvl>
                  <c:pt idx="0">
                    <c:v>Sunscreen Adults</c:v>
                  </c:pt>
                  <c:pt idx="10">
                    <c:v>Sunscreen Kids</c:v>
                  </c:pt>
                </c:lvl>
              </c:multiLvlStrCache>
            </c:multiLvlStrRef>
          </c:cat>
          <c:val>
            <c:numRef>
              <c:f>Sheet1!$D$2:$D$17</c:f>
              <c:numCache>
                <c:formatCode>General</c:formatCode>
                <c:ptCount val="16"/>
                <c:pt idx="0">
                  <c:v>163.0</c:v>
                </c:pt>
                <c:pt idx="1">
                  <c:v>0.0</c:v>
                </c:pt>
                <c:pt idx="2">
                  <c:v>75.7</c:v>
                </c:pt>
                <c:pt idx="3">
                  <c:v>3.0</c:v>
                </c:pt>
                <c:pt idx="4">
                  <c:v>21.9</c:v>
                </c:pt>
                <c:pt idx="5">
                  <c:v>0.0</c:v>
                </c:pt>
                <c:pt idx="6">
                  <c:v>18.9</c:v>
                </c:pt>
                <c:pt idx="7">
                  <c:v>0.0</c:v>
                </c:pt>
                <c:pt idx="8">
                  <c:v>10.7</c:v>
                </c:pt>
                <c:pt idx="9">
                  <c:v>0.0</c:v>
                </c:pt>
                <c:pt idx="10">
                  <c:v>7.3</c:v>
                </c:pt>
                <c:pt idx="11">
                  <c:v>0.0</c:v>
                </c:pt>
                <c:pt idx="12">
                  <c:v>6.7</c:v>
                </c:pt>
                <c:pt idx="13">
                  <c:v>0.0</c:v>
                </c:pt>
                <c:pt idx="14">
                  <c:v>4.9</c:v>
                </c:pt>
                <c:pt idx="15">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78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82.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434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743.63</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380.8</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dLbl>
              <c:idx val="8"/>
              <c:tx>
                <c:rich>
                  <a:bodyPr/>
                  <a:lstStyle/>
                  <a:p>
                    <a:r>
                      <a:t>10299.24</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dLbl>
              <c:idx val="10"/>
              <c:tx>
                <c:rich>
                  <a:bodyPr/>
                  <a:lstStyle/>
                  <a:p>
                    <a:r>
                      <a:t>1301.42</a:t>
                    </a:r>
                  </a:p>
                </c:rich>
              </c:tx>
              <c:dLblPos val="t"/>
              <c:showLegendKey val="0"/>
              <c:showVal val="1"/>
              <c:showCatName val="0"/>
              <c:showSerName val="0"/>
              <c:showPercent val="0"/>
              <c:showBubbleSize val="0"/>
            </c:dLbl>
            <c:dLbl>
              <c:idx val="11"/>
              <c:tx>
                <c:rich>
                  <a:bodyPr/>
                  <a:lstStyle/>
                  <a:p>
                    <a:r>
                      <a:t>0.0</a:t>
                    </a:r>
                  </a:p>
                </c:rich>
              </c:tx>
              <c:dLblPos val="t"/>
              <c:showLegendKey val="0"/>
              <c:showVal val="1"/>
              <c:showCatName val="0"/>
              <c:showSerName val="0"/>
              <c:showPercent val="0"/>
              <c:showBubbleSize val="0"/>
            </c:dLbl>
            <c:dLbl>
              <c:idx val="12"/>
              <c:tx>
                <c:rich>
                  <a:bodyPr/>
                  <a:lstStyle/>
                  <a:p>
                    <a:r>
                      <a:t>667.13</a:t>
                    </a:r>
                  </a:p>
                </c:rich>
              </c:tx>
              <c:dLblPos val="t"/>
              <c:showLegendKey val="0"/>
              <c:showVal val="1"/>
              <c:showCatName val="0"/>
              <c:showSerName val="0"/>
              <c:showPercent val="0"/>
              <c:showBubbleSize val="0"/>
            </c:dLbl>
            <c:dLbl>
              <c:idx val="13"/>
              <c:tx>
                <c:rich>
                  <a:bodyPr/>
                  <a:lstStyle/>
                  <a:p>
                    <a:r>
                      <a:t>0.0</a:t>
                    </a:r>
                  </a:p>
                </c:rich>
              </c:tx>
              <c:dLblPos val="t"/>
              <c:showLegendKey val="0"/>
              <c:showVal val="1"/>
              <c:showCatName val="0"/>
              <c:showSerName val="0"/>
              <c:showPercent val="0"/>
              <c:showBubbleSize val="0"/>
            </c:dLbl>
            <c:dLbl>
              <c:idx val="14"/>
              <c:tx>
                <c:rich>
                  <a:bodyPr/>
                  <a:lstStyle/>
                  <a:p>
                    <a:r>
                      <a:t>1722.99</a:t>
                    </a:r>
                  </a:p>
                </c:rich>
              </c:tx>
              <c:dLblPos val="t"/>
              <c:showLegendKey val="0"/>
              <c:showVal val="1"/>
              <c:showCatName val="0"/>
              <c:showSerName val="0"/>
              <c:showPercent val="0"/>
              <c:showBubbleSize val="0"/>
            </c:dLbl>
            <c:dLbl>
              <c:idx val="15"/>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lvl>
                <c:lvl>
                  <c:pt idx="0">
                    <c:v>No Spray Crema</c:v>
                  </c:pt>
                  <c:pt idx="2">
                    <c:v>No Spray Liquido</c:v>
                  </c:pt>
                  <c:pt idx="4">
                    <c:v>No Spray Gel</c:v>
                  </c:pt>
                  <c:pt idx="6">
                    <c:v>Spray Liquido</c:v>
                  </c:pt>
                  <c:pt idx="8">
                    <c:v>No Spray Fluido</c:v>
                  </c:pt>
                  <c:pt idx="10">
                    <c:v>No Spray Liquido</c:v>
                  </c:pt>
                  <c:pt idx="12">
                    <c:v>No Spray Crema</c:v>
                  </c:pt>
                  <c:pt idx="14">
                    <c:v>No Spray Gel</c:v>
                  </c:pt>
                </c:lvl>
                <c:lvl>
                  <c:pt idx="0">
                    <c:v>Sunscreen Adults</c:v>
                  </c:pt>
                  <c:pt idx="10">
                    <c:v>Sunscreen Kids</c:v>
                  </c:pt>
                </c:lvl>
              </c:multiLvlStrCache>
            </c:multiLvlStrRef>
          </c:cat>
          <c:val>
            <c:numRef>
              <c:f>Sheet1!$E$2:$E$17</c:f>
              <c:numCache>
                <c:formatCode>General</c:formatCode>
                <c:ptCount val="16"/>
                <c:pt idx="0">
                  <c:v>1787.0997</c:v>
                </c:pt>
                <c:pt idx="1">
                  <c:v>0.0</c:v>
                </c:pt>
                <c:pt idx="2">
                  <c:v>1382.5326</c:v>
                </c:pt>
                <c:pt idx="3">
                  <c:v>4341.905</c:v>
                </c:pt>
                <c:pt idx="4">
                  <c:v>1743.6278</c:v>
                </c:pt>
                <c:pt idx="5">
                  <c:v>0.0</c:v>
                </c:pt>
                <c:pt idx="6">
                  <c:v>1380.7984</c:v>
                </c:pt>
                <c:pt idx="7">
                  <c:v>0.0</c:v>
                </c:pt>
                <c:pt idx="8">
                  <c:v>10299.2377</c:v>
                </c:pt>
                <c:pt idx="9">
                  <c:v>0.0</c:v>
                </c:pt>
                <c:pt idx="10">
                  <c:v>1301.417</c:v>
                </c:pt>
                <c:pt idx="11">
                  <c:v>0.0</c:v>
                </c:pt>
                <c:pt idx="12">
                  <c:v>667.1291</c:v>
                </c:pt>
                <c:pt idx="13">
                  <c:v>0.0</c:v>
                </c:pt>
                <c:pt idx="14">
                  <c:v>1722.9855</c:v>
                </c:pt>
                <c:pt idx="15">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Pt>
            <c:idx val="4"/>
            <c:spPr>
              <a:solidFill>
                <a:srgbClr val="BCBBBB"/>
              </a:solidFill>
            </c:spPr>
          </c:dPt>
          <c:dPt>
            <c:idx val="6"/>
            <c:spPr>
              <a:solidFill>
                <a:srgbClr val="BCBBBB"/>
              </a:solidFill>
            </c:spPr>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lvl>
                <c:lvl>
                  <c:pt idx="0">
                    <c:v>No Spray Crema</c:v>
                  </c:pt>
                  <c:pt idx="2">
                    <c:v>No Spray Liquido</c:v>
                  </c:pt>
                  <c:pt idx="4">
                    <c:v>No Spray Gel</c:v>
                  </c:pt>
                  <c:pt idx="6">
                    <c:v>No Spray Fluido</c:v>
                  </c:pt>
                  <c:pt idx="8">
                    <c:v>Spray Liquido</c:v>
                  </c:pt>
                  <c:pt idx="10">
                    <c:v>No Spray Crema</c:v>
                  </c:pt>
                  <c:pt idx="12">
                    <c:v>No Spray Liquido</c:v>
                  </c:pt>
                </c:lvl>
                <c:lvl>
                  <c:pt idx="0">
                    <c:v>Sunscreen Adults</c:v>
                  </c:pt>
                  <c:pt idx="10">
                    <c:v>Sunscreen Kids</c:v>
                  </c:pt>
                </c:lvl>
              </c:multiLvlStrCache>
            </c:multiLvlStrRef>
          </c:cat>
          <c:val>
            <c:numRef>
              <c:f>Sheet1!$D$2:$D$15</c:f>
              <c:numCache>
                <c:formatCode>General</c:formatCode>
                <c:ptCount val="14"/>
                <c:pt idx="0">
                  <c:v>144.4</c:v>
                </c:pt>
                <c:pt idx="1">
                  <c:v>0.0</c:v>
                </c:pt>
                <c:pt idx="2">
                  <c:v>48.0</c:v>
                </c:pt>
                <c:pt idx="3">
                  <c:v>1.9</c:v>
                </c:pt>
                <c:pt idx="4">
                  <c:v>22.4</c:v>
                </c:pt>
                <c:pt idx="5">
                  <c:v>0.0</c:v>
                </c:pt>
                <c:pt idx="6">
                  <c:v>20.4</c:v>
                </c:pt>
                <c:pt idx="7">
                  <c:v>0.0</c:v>
                </c:pt>
                <c:pt idx="8">
                  <c:v>14.1</c:v>
                </c:pt>
                <c:pt idx="9">
                  <c:v>0.0</c:v>
                </c:pt>
                <c:pt idx="10">
                  <c:v>5.2</c:v>
                </c:pt>
                <c:pt idx="11">
                  <c:v>0.0</c:v>
                </c:pt>
                <c:pt idx="12">
                  <c:v>4.8</c:v>
                </c:pt>
                <c:pt idx="13">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212.3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75.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4279.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2170.78</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0595.32</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dLbl>
              <c:idx val="8"/>
              <c:tx>
                <c:rich>
                  <a:bodyPr/>
                  <a:lstStyle/>
                  <a:p>
                    <a:r>
                      <a:t>1425.33</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dLbl>
              <c:idx val="10"/>
              <c:tx>
                <c:rich>
                  <a:bodyPr/>
                  <a:lstStyle/>
                  <a:p>
                    <a:r>
                      <a:t>717.41</a:t>
                    </a:r>
                  </a:p>
                </c:rich>
              </c:tx>
              <c:dLblPos val="t"/>
              <c:showLegendKey val="0"/>
              <c:showVal val="1"/>
              <c:showCatName val="0"/>
              <c:showSerName val="0"/>
              <c:showPercent val="0"/>
              <c:showBubbleSize val="0"/>
            </c:dLbl>
            <c:dLbl>
              <c:idx val="11"/>
              <c:tx>
                <c:rich>
                  <a:bodyPr/>
                  <a:lstStyle/>
                  <a:p>
                    <a:r>
                      <a:t>0.0</a:t>
                    </a:r>
                  </a:p>
                </c:rich>
              </c:tx>
              <c:dLblPos val="t"/>
              <c:showLegendKey val="0"/>
              <c:showVal val="1"/>
              <c:showCatName val="0"/>
              <c:showSerName val="0"/>
              <c:showPercent val="0"/>
              <c:showBubbleSize val="0"/>
            </c:dLbl>
            <c:dLbl>
              <c:idx val="12"/>
              <c:tx>
                <c:rich>
                  <a:bodyPr/>
                  <a:lstStyle/>
                  <a:p>
                    <a:r>
                      <a:t>1401.01</a:t>
                    </a:r>
                  </a:p>
                </c:rich>
              </c:tx>
              <c:dLblPos val="t"/>
              <c:showLegendKey val="0"/>
              <c:showVal val="1"/>
              <c:showCatName val="0"/>
              <c:showSerName val="0"/>
              <c:showPercent val="0"/>
              <c:showBubbleSize val="0"/>
            </c:dLbl>
            <c:dLbl>
              <c:idx val="13"/>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5</c:f>
              <c:multiLvlStrCache>
                <c:ptCount val="14"/>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lvl>
                <c:lvl>
                  <c:pt idx="0">
                    <c:v>No Spray Crema</c:v>
                  </c:pt>
                  <c:pt idx="2">
                    <c:v>No Spray Liquido</c:v>
                  </c:pt>
                  <c:pt idx="4">
                    <c:v>No Spray Gel</c:v>
                  </c:pt>
                  <c:pt idx="6">
                    <c:v>No Spray Fluido</c:v>
                  </c:pt>
                  <c:pt idx="8">
                    <c:v>Spray Liquido</c:v>
                  </c:pt>
                  <c:pt idx="10">
                    <c:v>No Spray Crema</c:v>
                  </c:pt>
                  <c:pt idx="12">
                    <c:v>No Spray Liquido</c:v>
                  </c:pt>
                </c:lvl>
                <c:lvl>
                  <c:pt idx="0">
                    <c:v>Sunscreen Adults</c:v>
                  </c:pt>
                  <c:pt idx="10">
                    <c:v>Sunscreen Kids</c:v>
                  </c:pt>
                </c:lvl>
              </c:multiLvlStrCache>
            </c:multiLvlStrRef>
          </c:cat>
          <c:val>
            <c:numRef>
              <c:f>Sheet1!$E$2:$E$15</c:f>
              <c:numCache>
                <c:formatCode>General</c:formatCode>
                <c:ptCount val="14"/>
                <c:pt idx="0">
                  <c:v>2212.3442</c:v>
                </c:pt>
                <c:pt idx="1">
                  <c:v>0.0</c:v>
                </c:pt>
                <c:pt idx="2">
                  <c:v>1375.4544</c:v>
                </c:pt>
                <c:pt idx="3">
                  <c:v>4279.4598</c:v>
                </c:pt>
                <c:pt idx="4">
                  <c:v>2170.7798</c:v>
                </c:pt>
                <c:pt idx="5">
                  <c:v>0.0</c:v>
                </c:pt>
                <c:pt idx="6">
                  <c:v>10595.3196</c:v>
                </c:pt>
                <c:pt idx="7">
                  <c:v>0.0</c:v>
                </c:pt>
                <c:pt idx="8">
                  <c:v>1425.3298</c:v>
                </c:pt>
                <c:pt idx="9">
                  <c:v>0.0</c:v>
                </c:pt>
                <c:pt idx="10">
                  <c:v>717.4099</c:v>
                </c:pt>
                <c:pt idx="11">
                  <c:v>0.0</c:v>
                </c:pt>
                <c:pt idx="12">
                  <c:v>1401.0145</c:v>
                </c:pt>
                <c:pt idx="13">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Pt>
            <c:idx val="4"/>
            <c:spPr>
              <a:solidFill>
                <a:srgbClr val="BCBBBB"/>
              </a:solidFill>
            </c:spPr>
          </c:dPt>
          <c:dPt>
            <c:idx val="6"/>
            <c:spPr>
              <a:solidFill>
                <a:srgbClr val="BCBBBB"/>
              </a:solidFill>
            </c:spPr>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lvl>
                <c:lvl>
                  <c:pt idx="0">
                    <c:v>No Spray Gel</c:v>
                  </c:pt>
                  <c:pt idx="2">
                    <c:v>No Spray Crema</c:v>
                  </c:pt>
                  <c:pt idx="4">
                    <c:v>No Spray Liquido</c:v>
                  </c:pt>
                  <c:pt idx="6">
                    <c:v>Spray Liquido</c:v>
                  </c:pt>
                  <c:pt idx="8">
                    <c:v>No Spray Gel</c:v>
                  </c:pt>
                  <c:pt idx="10">
                    <c:v>No Spray Crema</c:v>
                  </c:pt>
                  <c:pt idx="12">
                    <c:v>No Spray Gel</c:v>
                  </c:pt>
                  <c:pt idx="14">
                    <c:v>No Spray Liquido</c:v>
                  </c:pt>
                </c:lvl>
                <c:lvl>
                  <c:pt idx="0">
                    <c:v>After Sun Adults</c:v>
                  </c:pt>
                  <c:pt idx="2">
                    <c:v>Sunscreen Adults</c:v>
                  </c:pt>
                  <c:pt idx="10">
                    <c:v>Sunscreen Kids</c:v>
                  </c:pt>
                </c:lvl>
              </c:multiLvlStrCache>
            </c:multiLvlStrRef>
          </c:cat>
          <c:val>
            <c:numRef>
              <c:f>Sheet1!$D$2:$D$17</c:f>
              <c:numCache>
                <c:formatCode>General</c:formatCode>
                <c:ptCount val="16"/>
                <c:pt idx="0">
                  <c:v>5.4</c:v>
                </c:pt>
                <c:pt idx="1">
                  <c:v>0.0</c:v>
                </c:pt>
                <c:pt idx="2">
                  <c:v>103.1</c:v>
                </c:pt>
                <c:pt idx="3">
                  <c:v>0.0</c:v>
                </c:pt>
                <c:pt idx="4">
                  <c:v>61.9</c:v>
                </c:pt>
                <c:pt idx="5">
                  <c:v>2.2</c:v>
                </c:pt>
                <c:pt idx="6">
                  <c:v>29.5</c:v>
                </c:pt>
                <c:pt idx="7">
                  <c:v>0.0</c:v>
                </c:pt>
                <c:pt idx="8">
                  <c:v>15.9</c:v>
                </c:pt>
                <c:pt idx="9">
                  <c:v>0.0</c:v>
                </c:pt>
                <c:pt idx="10">
                  <c:v>7.2</c:v>
                </c:pt>
                <c:pt idx="11">
                  <c:v>0.0</c:v>
                </c:pt>
                <c:pt idx="12">
                  <c:v>6.2</c:v>
                </c:pt>
                <c:pt idx="13">
                  <c:v>0.0</c:v>
                </c:pt>
                <c:pt idx="14">
                  <c:v>5.3</c:v>
                </c:pt>
                <c:pt idx="15">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571.5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439.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309.09</a:t>
                    </a:r>
                  </a:p>
                </c:rich>
              </c:tx>
              <c:dLblPos val="t"/>
              <c:showLegendKey val="0"/>
              <c:showVal val="1"/>
              <c:showCatName val="0"/>
              <c:showSerName val="0"/>
              <c:showPercent val="0"/>
              <c:showBubbleSize val="0"/>
            </c:dLbl>
            <c:dLbl>
              <c:idx val="5"/>
              <c:tx>
                <c:rich>
                  <a:bodyPr/>
                  <a:lstStyle/>
                  <a:p>
                    <a:r>
                      <a:t>3103.44</a:t>
                    </a:r>
                  </a:p>
                </c:rich>
              </c:tx>
              <c:dLblPos val="t"/>
              <c:showLegendKey val="0"/>
              <c:showVal val="1"/>
              <c:showCatName val="0"/>
              <c:showSerName val="0"/>
              <c:showPercent val="0"/>
              <c:showBubbleSize val="0"/>
            </c:dLbl>
            <c:dLbl>
              <c:idx val="6"/>
              <c:tx>
                <c:rich>
                  <a:bodyPr/>
                  <a:lstStyle/>
                  <a:p>
                    <a:r>
                      <a:t>1364.75</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dLbl>
              <c:idx val="8"/>
              <c:tx>
                <c:rich>
                  <a:bodyPr/>
                  <a:lstStyle/>
                  <a:p>
                    <a:r>
                      <a:t>1360.65</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dLbl>
              <c:idx val="10"/>
              <c:tx>
                <c:rich>
                  <a:bodyPr/>
                  <a:lstStyle/>
                  <a:p>
                    <a:r>
                      <a:t>706.38</a:t>
                    </a:r>
                  </a:p>
                </c:rich>
              </c:tx>
              <c:dLblPos val="t"/>
              <c:showLegendKey val="0"/>
              <c:showVal val="1"/>
              <c:showCatName val="0"/>
              <c:showSerName val="0"/>
              <c:showPercent val="0"/>
              <c:showBubbleSize val="0"/>
            </c:dLbl>
            <c:dLbl>
              <c:idx val="11"/>
              <c:tx>
                <c:rich>
                  <a:bodyPr/>
                  <a:lstStyle/>
                  <a:p>
                    <a:r>
                      <a:t>0.0</a:t>
                    </a:r>
                  </a:p>
                </c:rich>
              </c:tx>
              <c:dLblPos val="t"/>
              <c:showLegendKey val="0"/>
              <c:showVal val="1"/>
              <c:showCatName val="0"/>
              <c:showSerName val="0"/>
              <c:showPercent val="0"/>
              <c:showBubbleSize val="0"/>
            </c:dLbl>
            <c:dLbl>
              <c:idx val="12"/>
              <c:tx>
                <c:rich>
                  <a:bodyPr/>
                  <a:lstStyle/>
                  <a:p>
                    <a:r>
                      <a:t>1565.17</a:t>
                    </a:r>
                  </a:p>
                </c:rich>
              </c:tx>
              <c:dLblPos val="t"/>
              <c:showLegendKey val="0"/>
              <c:showVal val="1"/>
              <c:showCatName val="0"/>
              <c:showSerName val="0"/>
              <c:showPercent val="0"/>
              <c:showBubbleSize val="0"/>
            </c:dLbl>
            <c:dLbl>
              <c:idx val="13"/>
              <c:tx>
                <c:rich>
                  <a:bodyPr/>
                  <a:lstStyle/>
                  <a:p>
                    <a:r>
                      <a:t>0.0</a:t>
                    </a:r>
                  </a:p>
                </c:rich>
              </c:tx>
              <c:dLblPos val="t"/>
              <c:showLegendKey val="0"/>
              <c:showVal val="1"/>
              <c:showCatName val="0"/>
              <c:showSerName val="0"/>
              <c:showPercent val="0"/>
              <c:showBubbleSize val="0"/>
            </c:dLbl>
            <c:dLbl>
              <c:idx val="14"/>
              <c:tx>
                <c:rich>
                  <a:bodyPr/>
                  <a:lstStyle/>
                  <a:p>
                    <a:r>
                      <a:t>1215.41</a:t>
                    </a:r>
                  </a:p>
                </c:rich>
              </c:tx>
              <c:dLblPos val="t"/>
              <c:showLegendKey val="0"/>
              <c:showVal val="1"/>
              <c:showCatName val="0"/>
              <c:showSerName val="0"/>
              <c:showPercent val="0"/>
              <c:showBubbleSize val="0"/>
            </c:dLbl>
            <c:dLbl>
              <c:idx val="15"/>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lvl>
                <c:lvl>
                  <c:pt idx="0">
                    <c:v>No Spray Gel</c:v>
                  </c:pt>
                  <c:pt idx="2">
                    <c:v>No Spray Crema</c:v>
                  </c:pt>
                  <c:pt idx="4">
                    <c:v>No Spray Liquido</c:v>
                  </c:pt>
                  <c:pt idx="6">
                    <c:v>Spray Liquido</c:v>
                  </c:pt>
                  <c:pt idx="8">
                    <c:v>No Spray Gel</c:v>
                  </c:pt>
                  <c:pt idx="10">
                    <c:v>No Spray Crema</c:v>
                  </c:pt>
                  <c:pt idx="12">
                    <c:v>No Spray Gel</c:v>
                  </c:pt>
                  <c:pt idx="14">
                    <c:v>No Spray Liquido</c:v>
                  </c:pt>
                </c:lvl>
                <c:lvl>
                  <c:pt idx="0">
                    <c:v>After Sun Adults</c:v>
                  </c:pt>
                  <c:pt idx="2">
                    <c:v>Sunscreen Adults</c:v>
                  </c:pt>
                  <c:pt idx="10">
                    <c:v>Sunscreen Kids</c:v>
                  </c:pt>
                </c:lvl>
              </c:multiLvlStrCache>
            </c:multiLvlStrRef>
          </c:cat>
          <c:val>
            <c:numRef>
              <c:f>Sheet1!$E$2:$E$17</c:f>
              <c:numCache>
                <c:formatCode>General</c:formatCode>
                <c:ptCount val="16"/>
                <c:pt idx="0">
                  <c:v>571.5165</c:v>
                </c:pt>
                <c:pt idx="1">
                  <c:v>0.0</c:v>
                </c:pt>
                <c:pt idx="2">
                  <c:v>1439.95</c:v>
                </c:pt>
                <c:pt idx="3">
                  <c:v>0.0</c:v>
                </c:pt>
                <c:pt idx="4">
                  <c:v>1309.0881</c:v>
                </c:pt>
                <c:pt idx="5">
                  <c:v>3103.4389</c:v>
                </c:pt>
                <c:pt idx="6">
                  <c:v>1364.7523</c:v>
                </c:pt>
                <c:pt idx="7">
                  <c:v>0.0</c:v>
                </c:pt>
                <c:pt idx="8">
                  <c:v>1360.6511</c:v>
                </c:pt>
                <c:pt idx="9">
                  <c:v>0.0</c:v>
                </c:pt>
                <c:pt idx="10">
                  <c:v>706.3781</c:v>
                </c:pt>
                <c:pt idx="11">
                  <c:v>0.0</c:v>
                </c:pt>
                <c:pt idx="12">
                  <c:v>1565.1662</c:v>
                </c:pt>
                <c:pt idx="13">
                  <c:v>0.0</c:v>
                </c:pt>
                <c:pt idx="14">
                  <c:v>1215.4095</c:v>
                </c:pt>
                <c:pt idx="15">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Pt>
            <c:idx val="4"/>
            <c:spPr>
              <a:solidFill>
                <a:srgbClr val="BCBBBB"/>
              </a:solidFill>
            </c:spPr>
          </c:dPt>
          <c:dPt>
            <c:idx val="6"/>
            <c:spPr>
              <a:solidFill>
                <a:srgbClr val="BCBBBB"/>
              </a:solidFill>
            </c:spPr>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lvl>
                <c:lvl>
                  <c:pt idx="0">
                    <c:v>No Spray Crema</c:v>
                  </c:pt>
                  <c:pt idx="2">
                    <c:v>No Spray Liquido</c:v>
                  </c:pt>
                  <c:pt idx="4">
                    <c:v>No Spray Gel</c:v>
                  </c:pt>
                  <c:pt idx="6">
                    <c:v>Spray Liquido</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D$2:$D$17</c:f>
              <c:numCache>
                <c:formatCode>General</c:formatCode>
                <c:ptCount val="16"/>
                <c:pt idx="0">
                  <c:v>118.4</c:v>
                </c:pt>
                <c:pt idx="1">
                  <c:v>0.0</c:v>
                </c:pt>
                <c:pt idx="2">
                  <c:v>55.1</c:v>
                </c:pt>
                <c:pt idx="3">
                  <c:v>1.8</c:v>
                </c:pt>
                <c:pt idx="4">
                  <c:v>17.9</c:v>
                </c:pt>
                <c:pt idx="5">
                  <c:v>0.0</c:v>
                </c:pt>
                <c:pt idx="6">
                  <c:v>15.6</c:v>
                </c:pt>
                <c:pt idx="7">
                  <c:v>0.0</c:v>
                </c:pt>
                <c:pt idx="8">
                  <c:v>8.6</c:v>
                </c:pt>
                <c:pt idx="9">
                  <c:v>0.0</c:v>
                </c:pt>
                <c:pt idx="10">
                  <c:v>6.1</c:v>
                </c:pt>
                <c:pt idx="11">
                  <c:v>0.0</c:v>
                </c:pt>
                <c:pt idx="12">
                  <c:v>6.0</c:v>
                </c:pt>
                <c:pt idx="13">
                  <c:v>0.0</c:v>
                </c:pt>
                <c:pt idx="14">
                  <c:v>4.6</c:v>
                </c:pt>
                <c:pt idx="15">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59.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63.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4233.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729.46</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388.07</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dLbl>
              <c:idx val="8"/>
              <c:tx>
                <c:rich>
                  <a:bodyPr/>
                  <a:lstStyle/>
                  <a:p>
                    <a:r>
                      <a:t>11592.53</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dLbl>
              <c:idx val="10"/>
              <c:tx>
                <c:rich>
                  <a:bodyPr/>
                  <a:lstStyle/>
                  <a:p>
                    <a:r>
                      <a:t>682.45</a:t>
                    </a:r>
                  </a:p>
                </c:rich>
              </c:tx>
              <c:dLblPos val="t"/>
              <c:showLegendKey val="0"/>
              <c:showVal val="1"/>
              <c:showCatName val="0"/>
              <c:showSerName val="0"/>
              <c:showPercent val="0"/>
              <c:showBubbleSize val="0"/>
            </c:dLbl>
            <c:dLbl>
              <c:idx val="11"/>
              <c:tx>
                <c:rich>
                  <a:bodyPr/>
                  <a:lstStyle/>
                  <a:p>
                    <a:r>
                      <a:t>0.0</a:t>
                    </a:r>
                  </a:p>
                </c:rich>
              </c:tx>
              <c:dLblPos val="t"/>
              <c:showLegendKey val="0"/>
              <c:showVal val="1"/>
              <c:showCatName val="0"/>
              <c:showSerName val="0"/>
              <c:showPercent val="0"/>
              <c:showBubbleSize val="0"/>
            </c:dLbl>
            <c:dLbl>
              <c:idx val="12"/>
              <c:tx>
                <c:rich>
                  <a:bodyPr/>
                  <a:lstStyle/>
                  <a:p>
                    <a:r>
                      <a:t>1303.13</a:t>
                    </a:r>
                  </a:p>
                </c:rich>
              </c:tx>
              <c:dLblPos val="t"/>
              <c:showLegendKey val="0"/>
              <c:showVal val="1"/>
              <c:showCatName val="0"/>
              <c:showSerName val="0"/>
              <c:showPercent val="0"/>
              <c:showBubbleSize val="0"/>
            </c:dLbl>
            <c:dLbl>
              <c:idx val="13"/>
              <c:tx>
                <c:rich>
                  <a:bodyPr/>
                  <a:lstStyle/>
                  <a:p>
                    <a:r>
                      <a:t>0.0</a:t>
                    </a:r>
                  </a:p>
                </c:rich>
              </c:tx>
              <c:dLblPos val="t"/>
              <c:showLegendKey val="0"/>
              <c:showVal val="1"/>
              <c:showCatName val="0"/>
              <c:showSerName val="0"/>
              <c:showPercent val="0"/>
              <c:showBubbleSize val="0"/>
            </c:dLbl>
            <c:dLbl>
              <c:idx val="14"/>
              <c:tx>
                <c:rich>
                  <a:bodyPr/>
                  <a:lstStyle/>
                  <a:p>
                    <a:r>
                      <a:t>1696.94</a:t>
                    </a:r>
                  </a:p>
                </c:rich>
              </c:tx>
              <c:dLblPos val="t"/>
              <c:showLegendKey val="0"/>
              <c:showVal val="1"/>
              <c:showCatName val="0"/>
              <c:showSerName val="0"/>
              <c:showPercent val="0"/>
              <c:showBubbleSize val="0"/>
            </c:dLbl>
            <c:dLbl>
              <c:idx val="15"/>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lvl>
                <c:lvl>
                  <c:pt idx="0">
                    <c:v>No Spray Crema</c:v>
                  </c:pt>
                  <c:pt idx="2">
                    <c:v>No Spray Liquido</c:v>
                  </c:pt>
                  <c:pt idx="4">
                    <c:v>No Spray Gel</c:v>
                  </c:pt>
                  <c:pt idx="6">
                    <c:v>Spray Liquido</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E$2:$E$17</c:f>
              <c:numCache>
                <c:formatCode>General</c:formatCode>
                <c:ptCount val="16"/>
                <c:pt idx="0">
                  <c:v>1659.42</c:v>
                </c:pt>
                <c:pt idx="1">
                  <c:v>0.0</c:v>
                </c:pt>
                <c:pt idx="2">
                  <c:v>1363.1175</c:v>
                </c:pt>
                <c:pt idx="3">
                  <c:v>4233.1399</c:v>
                </c:pt>
                <c:pt idx="4">
                  <c:v>1729.4639</c:v>
                </c:pt>
                <c:pt idx="5">
                  <c:v>0.0</c:v>
                </c:pt>
                <c:pt idx="6">
                  <c:v>1388.0657</c:v>
                </c:pt>
                <c:pt idx="7">
                  <c:v>0.0</c:v>
                </c:pt>
                <c:pt idx="8">
                  <c:v>11592.5312</c:v>
                </c:pt>
                <c:pt idx="9">
                  <c:v>0.0</c:v>
                </c:pt>
                <c:pt idx="10">
                  <c:v>682.4479</c:v>
                </c:pt>
                <c:pt idx="11">
                  <c:v>0.0</c:v>
                </c:pt>
                <c:pt idx="12">
                  <c:v>1303.1286</c:v>
                </c:pt>
                <c:pt idx="13">
                  <c:v>0.0</c:v>
                </c:pt>
                <c:pt idx="14">
                  <c:v>1696.9402</c:v>
                </c:pt>
                <c:pt idx="15">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Pt>
            <c:idx val="4"/>
            <c:spPr>
              <a:solidFill>
                <a:srgbClr val="BCBBBB"/>
              </a:solidFill>
            </c:spPr>
          </c:dPt>
          <c:dPt>
            <c:idx val="6"/>
            <c:spPr>
              <a:solidFill>
                <a:srgbClr val="BCBBBB"/>
              </a:solidFill>
            </c:spPr>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lvl>
                <c:lvl>
                  <c:pt idx="0">
                    <c:v>No Spray Crema</c:v>
                  </c:pt>
                  <c:pt idx="2">
                    <c:v>No Spray Liquido</c:v>
                  </c:pt>
                  <c:pt idx="4">
                    <c:v>Spray Liquido</c:v>
                  </c:pt>
                  <c:pt idx="6">
                    <c:v>No Spray Gel</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D$2:$D$17</c:f>
              <c:numCache>
                <c:formatCode>General</c:formatCode>
                <c:ptCount val="16"/>
                <c:pt idx="0">
                  <c:v>109.4</c:v>
                </c:pt>
                <c:pt idx="1">
                  <c:v>0.0</c:v>
                </c:pt>
                <c:pt idx="2">
                  <c:v>50.9</c:v>
                </c:pt>
                <c:pt idx="3">
                  <c:v>2.0</c:v>
                </c:pt>
                <c:pt idx="4">
                  <c:v>22.7</c:v>
                </c:pt>
                <c:pt idx="5">
                  <c:v>0.0</c:v>
                </c:pt>
                <c:pt idx="6">
                  <c:v>13.9</c:v>
                </c:pt>
                <c:pt idx="7">
                  <c:v>0.0</c:v>
                </c:pt>
                <c:pt idx="8">
                  <c:v>7.9</c:v>
                </c:pt>
                <c:pt idx="9">
                  <c:v>0.0</c:v>
                </c:pt>
                <c:pt idx="10">
                  <c:v>5.9</c:v>
                </c:pt>
                <c:pt idx="11">
                  <c:v>0.0</c:v>
                </c:pt>
                <c:pt idx="12">
                  <c:v>4.7</c:v>
                </c:pt>
                <c:pt idx="13">
                  <c:v>0.0</c:v>
                </c:pt>
                <c:pt idx="14">
                  <c:v>3.7</c:v>
                </c:pt>
                <c:pt idx="15">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6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79.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4326.9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479.37</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874.5</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dLbl>
              <c:idx val="8"/>
              <c:tx>
                <c:rich>
                  <a:bodyPr/>
                  <a:lstStyle/>
                  <a:p>
                    <a:r>
                      <a:t>11640.68</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dLbl>
              <c:idx val="10"/>
              <c:tx>
                <c:rich>
                  <a:bodyPr/>
                  <a:lstStyle/>
                  <a:p>
                    <a:r>
                      <a:t>699.1</a:t>
                    </a:r>
                  </a:p>
                </c:rich>
              </c:tx>
              <c:dLblPos val="t"/>
              <c:showLegendKey val="0"/>
              <c:showVal val="1"/>
              <c:showCatName val="0"/>
              <c:showSerName val="0"/>
              <c:showPercent val="0"/>
              <c:showBubbleSize val="0"/>
            </c:dLbl>
            <c:dLbl>
              <c:idx val="11"/>
              <c:tx>
                <c:rich>
                  <a:bodyPr/>
                  <a:lstStyle/>
                  <a:p>
                    <a:r>
                      <a:t>0.0</a:t>
                    </a:r>
                  </a:p>
                </c:rich>
              </c:tx>
              <c:dLblPos val="t"/>
              <c:showLegendKey val="0"/>
              <c:showVal val="1"/>
              <c:showCatName val="0"/>
              <c:showSerName val="0"/>
              <c:showPercent val="0"/>
              <c:showBubbleSize val="0"/>
            </c:dLbl>
            <c:dLbl>
              <c:idx val="12"/>
              <c:tx>
                <c:rich>
                  <a:bodyPr/>
                  <a:lstStyle/>
                  <a:p>
                    <a:r>
                      <a:t>1369.9</a:t>
                    </a:r>
                  </a:p>
                </c:rich>
              </c:tx>
              <c:dLblPos val="t"/>
              <c:showLegendKey val="0"/>
              <c:showVal val="1"/>
              <c:showCatName val="0"/>
              <c:showSerName val="0"/>
              <c:showPercent val="0"/>
              <c:showBubbleSize val="0"/>
            </c:dLbl>
            <c:dLbl>
              <c:idx val="13"/>
              <c:tx>
                <c:rich>
                  <a:bodyPr/>
                  <a:lstStyle/>
                  <a:p>
                    <a:r>
                      <a:t>0.0</a:t>
                    </a:r>
                  </a:p>
                </c:rich>
              </c:tx>
              <c:dLblPos val="t"/>
              <c:showLegendKey val="0"/>
              <c:showVal val="1"/>
              <c:showCatName val="0"/>
              <c:showSerName val="0"/>
              <c:showPercent val="0"/>
              <c:showBubbleSize val="0"/>
            </c:dLbl>
            <c:dLbl>
              <c:idx val="14"/>
              <c:tx>
                <c:rich>
                  <a:bodyPr/>
                  <a:lstStyle/>
                  <a:p>
                    <a:r>
                      <a:t>1774.97</a:t>
                    </a:r>
                  </a:p>
                </c:rich>
              </c:tx>
              <c:dLblPos val="t"/>
              <c:showLegendKey val="0"/>
              <c:showVal val="1"/>
              <c:showCatName val="0"/>
              <c:showSerName val="0"/>
              <c:showPercent val="0"/>
              <c:showBubbleSize val="0"/>
            </c:dLbl>
            <c:dLbl>
              <c:idx val="15"/>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lvl>
                <c:lvl>
                  <c:pt idx="0">
                    <c:v>No Spray Crema</c:v>
                  </c:pt>
                  <c:pt idx="2">
                    <c:v>No Spray Liquido</c:v>
                  </c:pt>
                  <c:pt idx="4">
                    <c:v>Spray Liquido</c:v>
                  </c:pt>
                  <c:pt idx="6">
                    <c:v>No Spray Gel</c:v>
                  </c:pt>
                  <c:pt idx="8">
                    <c:v>No Spray Fluido</c:v>
                  </c:pt>
                  <c:pt idx="10">
                    <c:v>No Spray Crema</c:v>
                  </c:pt>
                  <c:pt idx="12">
                    <c:v>No Spray Liquido</c:v>
                  </c:pt>
                  <c:pt idx="14">
                    <c:v>No Spray Gel</c:v>
                  </c:pt>
                </c:lvl>
                <c:lvl>
                  <c:pt idx="0">
                    <c:v>Sunscreen Adults</c:v>
                  </c:pt>
                  <c:pt idx="10">
                    <c:v>Sunscreen Kids</c:v>
                  </c:pt>
                </c:lvl>
              </c:multiLvlStrCache>
            </c:multiLvlStrRef>
          </c:cat>
          <c:val>
            <c:numRef>
              <c:f>Sheet1!$E$2:$E$17</c:f>
              <c:numCache>
                <c:formatCode>General</c:formatCode>
                <c:ptCount val="16"/>
                <c:pt idx="0">
                  <c:v>1665.6965</c:v>
                </c:pt>
                <c:pt idx="1">
                  <c:v>0.0</c:v>
                </c:pt>
                <c:pt idx="2">
                  <c:v>1379.461</c:v>
                </c:pt>
                <c:pt idx="3">
                  <c:v>4326.949</c:v>
                </c:pt>
                <c:pt idx="4">
                  <c:v>1479.3656</c:v>
                </c:pt>
                <c:pt idx="5">
                  <c:v>0.0</c:v>
                </c:pt>
                <c:pt idx="6">
                  <c:v>1874.4972</c:v>
                </c:pt>
                <c:pt idx="7">
                  <c:v>0.0</c:v>
                </c:pt>
                <c:pt idx="8">
                  <c:v>11640.683</c:v>
                </c:pt>
                <c:pt idx="9">
                  <c:v>0.0</c:v>
                </c:pt>
                <c:pt idx="10">
                  <c:v>699.103</c:v>
                </c:pt>
                <c:pt idx="11">
                  <c:v>0.0</c:v>
                </c:pt>
                <c:pt idx="12">
                  <c:v>1369.9003</c:v>
                </c:pt>
                <c:pt idx="13">
                  <c:v>0.0</c:v>
                </c:pt>
                <c:pt idx="14">
                  <c:v>1774.9658</c:v>
                </c:pt>
                <c:pt idx="15">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661E574-A8B4-4A2B-A001-C03570B3CC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613E9CE-DB61-43CA-8FE8-F6EA071AF9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B35E73D-97FE-4F87-B28E-FC62F791B0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515D997-580F-4DF2-969B-F5FB5A2CD3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106208B-DE86-442C-94BA-A70E700806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E763FEF-9D57-493E-9A33-C36AABD0DE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9E47671-32E7-45A5-B9C9-4301CFC799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DB54FB8-64A0-419E-A8A1-7F7F607CFE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3.249</c:v>
                </c:pt>
                <c:pt idx="1">
                  <c:v>551.7873</c:v>
                </c:pt>
                <c:pt idx="2">
                  <c:v>195.2265</c:v>
                </c:pt>
                <c:pt idx="3">
                  <c:v>196.3084</c:v>
                </c:pt>
                <c:pt idx="4">
                  <c:v>544.4672</c:v>
                </c:pt>
                <c:pt idx="5">
                  <c:v>293.068</c:v>
                </c:pt>
                <c:pt idx="6">
                  <c:v>574.8097</c:v>
                </c:pt>
                <c:pt idx="7">
                  <c:v>220.0135</c:v>
                </c:pt>
              </c:numCache>
            </c:numRef>
          </c:xVal>
          <c:yVal>
            <c:numRef>
              <c:f>Sheet1!$B$2:$B$9</c:f>
              <c:numCache>
                <c:formatCode>General</c:formatCode>
                <c:ptCount val="8"/>
                <c:pt idx="0">
                  <c:v>0.869</c:v>
                </c:pt>
                <c:pt idx="1">
                  <c:v>3.241</c:v>
                </c:pt>
                <c:pt idx="2">
                  <c:v>0.563</c:v>
                </c:pt>
                <c:pt idx="3">
                  <c:v>0.56</c:v>
                </c:pt>
                <c:pt idx="4">
                  <c:v>4.427</c:v>
                </c:pt>
                <c:pt idx="5">
                  <c:v>1.586</c:v>
                </c:pt>
                <c:pt idx="6">
                  <c:v>3.967</c:v>
                </c:pt>
                <c:pt idx="7">
                  <c:v>2.045</c:v>
                </c:pt>
              </c:numCache>
            </c:numRef>
          </c:yVal>
          <c:bubbleSize>
            <c:numRef>
              <c:f>Sheet1!$C$2:$C$9</c:f>
              <c:numCache>
                <c:formatCode>General</c:formatCode>
                <c:ptCount val="8"/>
                <c:pt idx="0">
                  <c:v>68580640</c:v>
                </c:pt>
                <c:pt idx="1">
                  <c:v>37358209</c:v>
                </c:pt>
                <c:pt idx="2">
                  <c:v>32245369</c:v>
                </c:pt>
                <c:pt idx="3">
                  <c:v>24731918</c:v>
                </c:pt>
                <c:pt idx="4">
                  <c:v>19616609</c:v>
                </c:pt>
                <c:pt idx="5">
                  <c:v>19334577</c:v>
                </c:pt>
                <c:pt idx="6">
                  <c:v>12419913</c:v>
                </c:pt>
                <c:pt idx="7">
                  <c:v>191719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0.0"/>
          <c:min val="156.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Pt>
            <c:idx val="4"/>
            <c:spPr>
              <a:solidFill>
                <a:srgbClr val="BCBBBB"/>
              </a:solidFill>
            </c:spPr>
          </c:dPt>
          <c:dPt>
            <c:idx val="6"/>
            <c:spPr>
              <a:solidFill>
                <a:srgbClr val="BCBBBB"/>
              </a:solidFill>
            </c:spPr>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lvl>
                <c:lvl>
                  <c:pt idx="0">
                    <c:v>No Spray Crema</c:v>
                  </c:pt>
                  <c:pt idx="2">
                    <c:v>No Spray Liquido</c:v>
                  </c:pt>
                  <c:pt idx="4">
                    <c:v>Spray Liquido</c:v>
                  </c:pt>
                  <c:pt idx="6">
                    <c:v>No Spray Gel</c:v>
                  </c:pt>
                  <c:pt idx="8">
                    <c:v>No Spray Fluido</c:v>
                  </c:pt>
                  <c:pt idx="10">
                    <c:v>No Spray Liquido</c:v>
                  </c:pt>
                  <c:pt idx="12">
                    <c:v>No Spray Crema</c:v>
                  </c:pt>
                  <c:pt idx="14">
                    <c:v>No Spray Gel</c:v>
                  </c:pt>
                </c:lvl>
                <c:lvl>
                  <c:pt idx="0">
                    <c:v>Sunscreen Adults</c:v>
                  </c:pt>
                  <c:pt idx="10">
                    <c:v>Sunscreen Kids</c:v>
                  </c:pt>
                </c:lvl>
              </c:multiLvlStrCache>
            </c:multiLvlStrRef>
          </c:cat>
          <c:val>
            <c:numRef>
              <c:f>Sheet1!$D$2:$D$17</c:f>
              <c:numCache>
                <c:formatCode>General</c:formatCode>
                <c:ptCount val="16"/>
                <c:pt idx="0">
                  <c:v>74.6</c:v>
                </c:pt>
                <c:pt idx="1">
                  <c:v>0.0</c:v>
                </c:pt>
                <c:pt idx="2">
                  <c:v>40.1</c:v>
                </c:pt>
                <c:pt idx="3">
                  <c:v>1.5</c:v>
                </c:pt>
                <c:pt idx="4">
                  <c:v>23.6</c:v>
                </c:pt>
                <c:pt idx="5">
                  <c:v>0.0</c:v>
                </c:pt>
                <c:pt idx="6">
                  <c:v>10.1</c:v>
                </c:pt>
                <c:pt idx="7">
                  <c:v>0.0</c:v>
                </c:pt>
                <c:pt idx="8">
                  <c:v>3.8</c:v>
                </c:pt>
                <c:pt idx="9">
                  <c:v>0.0</c:v>
                </c:pt>
                <c:pt idx="10">
                  <c:v>4.2</c:v>
                </c:pt>
                <c:pt idx="11">
                  <c:v>0.0</c:v>
                </c:pt>
                <c:pt idx="12">
                  <c:v>3.4</c:v>
                </c:pt>
                <c:pt idx="13">
                  <c:v>0.0</c:v>
                </c:pt>
                <c:pt idx="14">
                  <c:v>3.1</c:v>
                </c:pt>
                <c:pt idx="15">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78.1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38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4326.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451.22</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658.92</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dLbl>
              <c:idx val="8"/>
              <c:tx>
                <c:rich>
                  <a:bodyPr/>
                  <a:lstStyle/>
                  <a:p>
                    <a:r>
                      <a:t>11328.66</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dLbl>
              <c:idx val="10"/>
              <c:tx>
                <c:rich>
                  <a:bodyPr/>
                  <a:lstStyle/>
                  <a:p>
                    <a:r>
                      <a:t>1343.6</a:t>
                    </a:r>
                  </a:p>
                </c:rich>
              </c:tx>
              <c:dLblPos val="t"/>
              <c:showLegendKey val="0"/>
              <c:showVal val="1"/>
              <c:showCatName val="0"/>
              <c:showSerName val="0"/>
              <c:showPercent val="0"/>
              <c:showBubbleSize val="0"/>
            </c:dLbl>
            <c:dLbl>
              <c:idx val="11"/>
              <c:tx>
                <c:rich>
                  <a:bodyPr/>
                  <a:lstStyle/>
                  <a:p>
                    <a:r>
                      <a:t>0.0</a:t>
                    </a:r>
                  </a:p>
                </c:rich>
              </c:tx>
              <c:dLblPos val="t"/>
              <c:showLegendKey val="0"/>
              <c:showVal val="1"/>
              <c:showCatName val="0"/>
              <c:showSerName val="0"/>
              <c:showPercent val="0"/>
              <c:showBubbleSize val="0"/>
            </c:dLbl>
            <c:dLbl>
              <c:idx val="12"/>
              <c:tx>
                <c:rich>
                  <a:bodyPr/>
                  <a:lstStyle/>
                  <a:p>
                    <a:r>
                      <a:t>727.51</a:t>
                    </a:r>
                  </a:p>
                </c:rich>
              </c:tx>
              <c:dLblPos val="t"/>
              <c:showLegendKey val="0"/>
              <c:showVal val="1"/>
              <c:showCatName val="0"/>
              <c:showSerName val="0"/>
              <c:showPercent val="0"/>
              <c:showBubbleSize val="0"/>
            </c:dLbl>
            <c:dLbl>
              <c:idx val="13"/>
              <c:tx>
                <c:rich>
                  <a:bodyPr/>
                  <a:lstStyle/>
                  <a:p>
                    <a:r>
                      <a:t>0.0</a:t>
                    </a:r>
                  </a:p>
                </c:rich>
              </c:tx>
              <c:dLblPos val="t"/>
              <c:showLegendKey val="0"/>
              <c:showVal val="1"/>
              <c:showCatName val="0"/>
              <c:showSerName val="0"/>
              <c:showPercent val="0"/>
              <c:showBubbleSize val="0"/>
            </c:dLbl>
            <c:dLbl>
              <c:idx val="14"/>
              <c:tx>
                <c:rich>
                  <a:bodyPr/>
                  <a:lstStyle/>
                  <a:p>
                    <a:r>
                      <a:t>1811.1</a:t>
                    </a:r>
                  </a:p>
                </c:rich>
              </c:tx>
              <c:dLblPos val="t"/>
              <c:showLegendKey val="0"/>
              <c:showVal val="1"/>
              <c:showCatName val="0"/>
              <c:showSerName val="0"/>
              <c:showPercent val="0"/>
              <c:showBubbleSize val="0"/>
            </c:dLbl>
            <c:dLbl>
              <c:idx val="15"/>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7</c:f>
              <c:multiLvlStrCache>
                <c:ptCount val="16"/>
                <c:lvl>
                  <c:pt idx="0">
                    <c:v>Total</c:v>
                  </c:pt>
                  <c:pt idx="1">
                    <c:v>Beauty Care</c:v>
                  </c:pt>
                  <c:pt idx="2">
                    <c:v>Total</c:v>
                  </c:pt>
                  <c:pt idx="3">
                    <c:v>Beauty Care</c:v>
                  </c:pt>
                  <c:pt idx="4">
                    <c:v>Total</c:v>
                  </c:pt>
                  <c:pt idx="5">
                    <c:v>Beauty Care</c:v>
                  </c:pt>
                  <c:pt idx="6">
                    <c:v>Total</c:v>
                  </c:pt>
                  <c:pt idx="7">
                    <c:v>Beauty Care</c:v>
                  </c:pt>
                  <c:pt idx="8">
                    <c:v>Total</c:v>
                  </c:pt>
                  <c:pt idx="9">
                    <c:v>Beauty Care</c:v>
                  </c:pt>
                  <c:pt idx="10">
                    <c:v>Total</c:v>
                  </c:pt>
                  <c:pt idx="11">
                    <c:v>Beauty Care</c:v>
                  </c:pt>
                  <c:pt idx="12">
                    <c:v>Total</c:v>
                  </c:pt>
                  <c:pt idx="13">
                    <c:v>Beauty Care</c:v>
                  </c:pt>
                  <c:pt idx="14">
                    <c:v>Total</c:v>
                  </c:pt>
                  <c:pt idx="15">
                    <c:v>Beauty Care</c:v>
                  </c:pt>
                </c:lvl>
                <c:lvl>
                  <c:pt idx="0">
                    <c:v>No Spray Crema</c:v>
                  </c:pt>
                  <c:pt idx="2">
                    <c:v>No Spray Liquido</c:v>
                  </c:pt>
                  <c:pt idx="4">
                    <c:v>Spray Liquido</c:v>
                  </c:pt>
                  <c:pt idx="6">
                    <c:v>No Spray Gel</c:v>
                  </c:pt>
                  <c:pt idx="8">
                    <c:v>No Spray Fluido</c:v>
                  </c:pt>
                  <c:pt idx="10">
                    <c:v>No Spray Liquido</c:v>
                  </c:pt>
                  <c:pt idx="12">
                    <c:v>No Spray Crema</c:v>
                  </c:pt>
                  <c:pt idx="14">
                    <c:v>No Spray Gel</c:v>
                  </c:pt>
                </c:lvl>
                <c:lvl>
                  <c:pt idx="0">
                    <c:v>Sunscreen Adults</c:v>
                  </c:pt>
                  <c:pt idx="10">
                    <c:v>Sunscreen Kids</c:v>
                  </c:pt>
                </c:lvl>
              </c:multiLvlStrCache>
            </c:multiLvlStrRef>
          </c:cat>
          <c:val>
            <c:numRef>
              <c:f>Sheet1!$E$2:$E$17</c:f>
              <c:numCache>
                <c:formatCode>General</c:formatCode>
                <c:ptCount val="16"/>
                <c:pt idx="0">
                  <c:v>1678.1269</c:v>
                </c:pt>
                <c:pt idx="1">
                  <c:v>0.0</c:v>
                </c:pt>
                <c:pt idx="2">
                  <c:v>1384.8006</c:v>
                </c:pt>
                <c:pt idx="3">
                  <c:v>4326.4348</c:v>
                </c:pt>
                <c:pt idx="4">
                  <c:v>1451.2198</c:v>
                </c:pt>
                <c:pt idx="5">
                  <c:v>0.0</c:v>
                </c:pt>
                <c:pt idx="6">
                  <c:v>1658.9194</c:v>
                </c:pt>
                <c:pt idx="7">
                  <c:v>0.0</c:v>
                </c:pt>
                <c:pt idx="8">
                  <c:v>11328.6557</c:v>
                </c:pt>
                <c:pt idx="9">
                  <c:v>0.0</c:v>
                </c:pt>
                <c:pt idx="10">
                  <c:v>1343.6047</c:v>
                </c:pt>
                <c:pt idx="11">
                  <c:v>0.0</c:v>
                </c:pt>
                <c:pt idx="12">
                  <c:v>727.5068</c:v>
                </c:pt>
                <c:pt idx="13">
                  <c:v>0.0</c:v>
                </c:pt>
                <c:pt idx="14">
                  <c:v>1811.1011</c:v>
                </c:pt>
                <c:pt idx="15">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c:v>
                  </c:pt>
                  <c:pt idx="2">
                    <c:v>Tanning</c:v>
                  </c:pt>
                  <c:pt idx="4">
                    <c:v>After Sun</c:v>
                  </c:pt>
                  <c:pt idx="6">
                    <c:v>Banded Pack</c:v>
                  </c:pt>
                </c:lvl>
              </c:multiLvlStrCache>
            </c:multiLvlStrRef>
          </c:cat>
          <c:val>
            <c:numRef>
              <c:f>Sheet1!$C$2:$C$9</c:f>
              <c:numCache>
                <c:formatCode>General</c:formatCode>
                <c:ptCount val="8"/>
                <c:pt idx="0">
                  <c:v>1567.1</c:v>
                </c:pt>
                <c:pt idx="1">
                  <c:v>246.5</c:v>
                </c:pt>
                <c:pt idx="2">
                  <c:v>32.5</c:v>
                </c:pt>
                <c:pt idx="3">
                  <c:v>13.3</c:v>
                </c:pt>
                <c:pt idx="4">
                  <c:v>25.0</c:v>
                </c:pt>
                <c:pt idx="5">
                  <c:v>9.3</c:v>
                </c:pt>
                <c:pt idx="6">
                  <c:v>18.9</c:v>
                </c:pt>
                <c:pt idx="7">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19.42</a:t>
                    </a:r>
                  </a:p>
                </c:rich>
              </c:tx>
              <c:dLblPos val="t"/>
              <c:showLegendKey val="0"/>
              <c:showVal val="1"/>
              <c:showCatName val="0"/>
              <c:showSerName val="0"/>
              <c:showPercent val="0"/>
              <c:showBubbleSize val="0"/>
            </c:dLbl>
            <c:dLbl>
              <c:idx val="1"/>
              <c:tx>
                <c:rich>
                  <a:bodyPr/>
                  <a:lstStyle/>
                  <a:p>
                    <a:r>
                      <a:t>1210.83</a:t>
                    </a:r>
                  </a:p>
                </c:rich>
              </c:tx>
              <c:dLblPos val="t"/>
              <c:showLegendKey val="0"/>
              <c:showVal val="1"/>
              <c:showCatName val="0"/>
              <c:showSerName val="0"/>
              <c:showPercent val="0"/>
              <c:showBubbleSize val="0"/>
            </c:dLbl>
            <c:dLbl>
              <c:idx val="2"/>
              <c:tx>
                <c:rich>
                  <a:bodyPr/>
                  <a:lstStyle/>
                  <a:p>
                    <a:r>
                      <a:t>1116.29</a:t>
                    </a:r>
                  </a:p>
                </c:rich>
              </c:tx>
              <c:dLblPos val="t"/>
              <c:showLegendKey val="0"/>
              <c:showVal val="1"/>
              <c:showCatName val="0"/>
              <c:showSerName val="0"/>
              <c:showPercent val="0"/>
              <c:showBubbleSize val="0"/>
            </c:dLbl>
            <c:dLbl>
              <c:idx val="3"/>
              <c:tx>
                <c:rich>
                  <a:bodyPr/>
                  <a:lstStyle/>
                  <a:p>
                    <a:r>
                      <a:t>1122.92</a:t>
                    </a:r>
                  </a:p>
                </c:rich>
              </c:tx>
              <c:dLblPos val="t"/>
              <c:showLegendKey val="0"/>
              <c:showVal val="1"/>
              <c:showCatName val="0"/>
              <c:showSerName val="0"/>
              <c:showPercent val="0"/>
              <c:showBubbleSize val="0"/>
            </c:dLbl>
            <c:dLbl>
              <c:idx val="4"/>
              <c:tx>
                <c:rich>
                  <a:bodyPr/>
                  <a:lstStyle/>
                  <a:p>
                    <a:r>
                      <a:t>577.77</a:t>
                    </a:r>
                  </a:p>
                </c:rich>
              </c:tx>
              <c:dLblPos val="t"/>
              <c:showLegendKey val="0"/>
              <c:showVal val="1"/>
              <c:showCatName val="0"/>
              <c:showSerName val="0"/>
              <c:showPercent val="0"/>
              <c:showBubbleSize val="0"/>
            </c:dLbl>
            <c:dLbl>
              <c:idx val="5"/>
              <c:tx>
                <c:rich>
                  <a:bodyPr/>
                  <a:lstStyle/>
                  <a:p>
                    <a:r>
                      <a:t>675.82</a:t>
                    </a:r>
                  </a:p>
                </c:rich>
              </c:tx>
              <c:dLblPos val="t"/>
              <c:showLegendKey val="0"/>
              <c:showVal val="1"/>
              <c:showCatName val="0"/>
              <c:showSerName val="0"/>
              <c:showPercent val="0"/>
              <c:showBubbleSize val="0"/>
            </c:dLbl>
            <c:dLbl>
              <c:idx val="6"/>
              <c:tx>
                <c:rich>
                  <a:bodyPr/>
                  <a:lstStyle/>
                  <a:p>
                    <a:r>
                      <a:t>4966.24</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c:v>
                  </c:pt>
                  <c:pt idx="2">
                    <c:v>Tanning</c:v>
                  </c:pt>
                  <c:pt idx="4">
                    <c:v>After Sun</c:v>
                  </c:pt>
                  <c:pt idx="6">
                    <c:v>Banded Pack</c:v>
                  </c:pt>
                </c:lvl>
              </c:multiLvlStrCache>
            </c:multiLvlStrRef>
          </c:cat>
          <c:val>
            <c:numRef>
              <c:f>Sheet1!$D$2:$D$9</c:f>
              <c:numCache>
                <c:formatCode>General</c:formatCode>
                <c:ptCount val="8"/>
                <c:pt idx="0">
                  <c:v>1619.4179</c:v>
                </c:pt>
                <c:pt idx="1">
                  <c:v>1210.8337</c:v>
                </c:pt>
                <c:pt idx="2">
                  <c:v>1116.2927</c:v>
                </c:pt>
                <c:pt idx="3">
                  <c:v>1122.9222</c:v>
                </c:pt>
                <c:pt idx="4">
                  <c:v>577.7724</c:v>
                </c:pt>
                <c:pt idx="5">
                  <c:v>675.8158</c:v>
                </c:pt>
                <c:pt idx="6">
                  <c:v>4966.239</c:v>
                </c:pt>
                <c:pt idx="7">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Hawaiian Tropic</c:v>
                  </c:pt>
                  <c:pt idx="2">
                    <c:v>Total</c:v>
                  </c:pt>
                  <c:pt idx="3">
                    <c:v>Hawaiian Tropic</c:v>
                  </c:pt>
                  <c:pt idx="4">
                    <c:v>Total</c:v>
                  </c:pt>
                  <c:pt idx="5">
                    <c:v>Hawaiian Tropic</c:v>
                  </c:pt>
                </c:lvl>
                <c:lvl>
                  <c:pt idx="0">
                    <c:v>Sunscreen</c:v>
                  </c:pt>
                  <c:pt idx="2">
                    <c:v>Tanning</c:v>
                  </c:pt>
                  <c:pt idx="4">
                    <c:v>After Sun</c:v>
                  </c:pt>
                </c:lvl>
              </c:multiLvlStrCache>
            </c:multiLvlStrRef>
          </c:cat>
          <c:val>
            <c:numRef>
              <c:f>Sheet1!$C$2:$C$7</c:f>
              <c:numCache>
                <c:formatCode>General</c:formatCode>
                <c:ptCount val="6"/>
                <c:pt idx="0">
                  <c:v>338.2</c:v>
                </c:pt>
                <c:pt idx="1">
                  <c:v>54.3</c:v>
                </c:pt>
                <c:pt idx="2">
                  <c:v>5.9</c:v>
                </c:pt>
                <c:pt idx="3">
                  <c:v>2.3</c:v>
                </c:pt>
                <c:pt idx="4">
                  <c:v>4.5</c:v>
                </c:pt>
                <c:pt idx="5">
                  <c:v>1.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48.45</a:t>
                    </a:r>
                  </a:p>
                </c:rich>
              </c:tx>
              <c:dLblPos val="t"/>
              <c:showLegendKey val="0"/>
              <c:showVal val="1"/>
              <c:showCatName val="0"/>
              <c:showSerName val="0"/>
              <c:showPercent val="0"/>
              <c:showBubbleSize val="0"/>
            </c:dLbl>
            <c:dLbl>
              <c:idx val="1"/>
              <c:tx>
                <c:rich>
                  <a:bodyPr/>
                  <a:lstStyle/>
                  <a:p>
                    <a:r>
                      <a:t>1216.69</a:t>
                    </a:r>
                  </a:p>
                </c:rich>
              </c:tx>
              <c:dLblPos val="t"/>
              <c:showLegendKey val="0"/>
              <c:showVal val="1"/>
              <c:showCatName val="0"/>
              <c:showSerName val="0"/>
              <c:showPercent val="0"/>
              <c:showBubbleSize val="0"/>
            </c:dLbl>
            <c:dLbl>
              <c:idx val="2"/>
              <c:tx>
                <c:rich>
                  <a:bodyPr/>
                  <a:lstStyle/>
                  <a:p>
                    <a:r>
                      <a:t>1077.75</a:t>
                    </a:r>
                  </a:p>
                </c:rich>
              </c:tx>
              <c:dLblPos val="t"/>
              <c:showLegendKey val="0"/>
              <c:showVal val="1"/>
              <c:showCatName val="0"/>
              <c:showSerName val="0"/>
              <c:showPercent val="0"/>
              <c:showBubbleSize val="0"/>
            </c:dLbl>
            <c:dLbl>
              <c:idx val="3"/>
              <c:tx>
                <c:rich>
                  <a:bodyPr/>
                  <a:lstStyle/>
                  <a:p>
                    <a:r>
                      <a:t>1162.17</a:t>
                    </a:r>
                  </a:p>
                </c:rich>
              </c:tx>
              <c:dLblPos val="t"/>
              <c:showLegendKey val="0"/>
              <c:showVal val="1"/>
              <c:showCatName val="0"/>
              <c:showSerName val="0"/>
              <c:showPercent val="0"/>
              <c:showBubbleSize val="0"/>
            </c:dLbl>
            <c:dLbl>
              <c:idx val="4"/>
              <c:tx>
                <c:rich>
                  <a:bodyPr/>
                  <a:lstStyle/>
                  <a:p>
                    <a:r>
                      <a:t>545.78</a:t>
                    </a:r>
                  </a:p>
                </c:rich>
              </c:tx>
              <c:dLblPos val="t"/>
              <c:showLegendKey val="0"/>
              <c:showVal val="1"/>
              <c:showCatName val="0"/>
              <c:showSerName val="0"/>
              <c:showPercent val="0"/>
              <c:showBubbleSize val="0"/>
            </c:dLbl>
            <c:dLbl>
              <c:idx val="5"/>
              <c:tx>
                <c:rich>
                  <a:bodyPr/>
                  <a:lstStyle/>
                  <a:p>
                    <a:r>
                      <a:t>716.05</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Hawaiian Tropic</c:v>
                  </c:pt>
                  <c:pt idx="2">
                    <c:v>Total</c:v>
                  </c:pt>
                  <c:pt idx="3">
                    <c:v>Hawaiian Tropic</c:v>
                  </c:pt>
                  <c:pt idx="4">
                    <c:v>Total</c:v>
                  </c:pt>
                  <c:pt idx="5">
                    <c:v>Hawaiian Tropic</c:v>
                  </c:pt>
                </c:lvl>
                <c:lvl>
                  <c:pt idx="0">
                    <c:v>Sunscreen</c:v>
                  </c:pt>
                  <c:pt idx="2">
                    <c:v>Tanning</c:v>
                  </c:pt>
                  <c:pt idx="4">
                    <c:v>After Sun</c:v>
                  </c:pt>
                </c:lvl>
              </c:multiLvlStrCache>
            </c:multiLvlStrRef>
          </c:cat>
          <c:val>
            <c:numRef>
              <c:f>Sheet1!$D$2:$D$7</c:f>
              <c:numCache>
                <c:formatCode>General</c:formatCode>
                <c:ptCount val="6"/>
                <c:pt idx="0">
                  <c:v>1648.4515</c:v>
                </c:pt>
                <c:pt idx="1">
                  <c:v>1216.6915</c:v>
                </c:pt>
                <c:pt idx="2">
                  <c:v>1077.7548</c:v>
                </c:pt>
                <c:pt idx="3">
                  <c:v>1162.1727</c:v>
                </c:pt>
                <c:pt idx="4">
                  <c:v>545.7791</c:v>
                </c:pt>
                <c:pt idx="5">
                  <c:v>716.045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Hawaiian Tropic</c:v>
                  </c:pt>
                  <c:pt idx="2">
                    <c:v>Total</c:v>
                  </c:pt>
                  <c:pt idx="3">
                    <c:v>Hawaiian Tropic</c:v>
                  </c:pt>
                  <c:pt idx="4">
                    <c:v>Total</c:v>
                  </c:pt>
                  <c:pt idx="5">
                    <c:v>Hawaiian Tropic</c:v>
                  </c:pt>
                </c:lvl>
                <c:lvl>
                  <c:pt idx="0">
                    <c:v>Sunscreen</c:v>
                  </c:pt>
                  <c:pt idx="2">
                    <c:v>Banded Pack</c:v>
                  </c:pt>
                  <c:pt idx="4">
                    <c:v>Tanning</c:v>
                  </c:pt>
                </c:lvl>
              </c:multiLvlStrCache>
            </c:multiLvlStrRef>
          </c:cat>
          <c:val>
            <c:numRef>
              <c:f>Sheet1!$C$2:$C$7</c:f>
              <c:numCache>
                <c:formatCode>General</c:formatCode>
                <c:ptCount val="6"/>
                <c:pt idx="0">
                  <c:v>292.8</c:v>
                </c:pt>
                <c:pt idx="1">
                  <c:v>32.3</c:v>
                </c:pt>
                <c:pt idx="2">
                  <c:v>11.8</c:v>
                </c:pt>
                <c:pt idx="3">
                  <c:v>0.0</c:v>
                </c:pt>
                <c:pt idx="4">
                  <c:v>3.1</c:v>
                </c:pt>
                <c:pt idx="5">
                  <c:v>1.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980.32</a:t>
                    </a:r>
                  </a:p>
                </c:rich>
              </c:tx>
              <c:dLblPos val="t"/>
              <c:showLegendKey val="0"/>
              <c:showVal val="1"/>
              <c:showCatName val="0"/>
              <c:showSerName val="0"/>
              <c:showPercent val="0"/>
              <c:showBubbleSize val="0"/>
            </c:dLbl>
            <c:dLbl>
              <c:idx val="1"/>
              <c:tx>
                <c:rich>
                  <a:bodyPr/>
                  <a:lstStyle/>
                  <a:p>
                    <a:r>
                      <a:t>1176.94</a:t>
                    </a:r>
                  </a:p>
                </c:rich>
              </c:tx>
              <c:dLblPos val="t"/>
              <c:showLegendKey val="0"/>
              <c:showVal val="1"/>
              <c:showCatName val="0"/>
              <c:showSerName val="0"/>
              <c:showPercent val="0"/>
              <c:showBubbleSize val="0"/>
            </c:dLbl>
            <c:dLbl>
              <c:idx val="2"/>
              <c:tx>
                <c:rich>
                  <a:bodyPr/>
                  <a:lstStyle/>
                  <a:p>
                    <a:r>
                      <a:t>5368.71</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1055.42</a:t>
                    </a:r>
                  </a:p>
                </c:rich>
              </c:tx>
              <c:dLblPos val="t"/>
              <c:showLegendKey val="0"/>
              <c:showVal val="1"/>
              <c:showCatName val="0"/>
              <c:showSerName val="0"/>
              <c:showPercent val="0"/>
              <c:showBubbleSize val="0"/>
            </c:dLbl>
            <c:dLbl>
              <c:idx val="5"/>
              <c:tx>
                <c:rich>
                  <a:bodyPr/>
                  <a:lstStyle/>
                  <a:p>
                    <a:r>
                      <a:t>1010.16</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Hawaiian Tropic</c:v>
                  </c:pt>
                  <c:pt idx="2">
                    <c:v>Total</c:v>
                  </c:pt>
                  <c:pt idx="3">
                    <c:v>Hawaiian Tropic</c:v>
                  </c:pt>
                  <c:pt idx="4">
                    <c:v>Total</c:v>
                  </c:pt>
                  <c:pt idx="5">
                    <c:v>Hawaiian Tropic</c:v>
                  </c:pt>
                </c:lvl>
                <c:lvl>
                  <c:pt idx="0">
                    <c:v>Sunscreen</c:v>
                  </c:pt>
                  <c:pt idx="2">
                    <c:v>Banded Pack</c:v>
                  </c:pt>
                  <c:pt idx="4">
                    <c:v>Tanning</c:v>
                  </c:pt>
                </c:lvl>
              </c:multiLvlStrCache>
            </c:multiLvlStrRef>
          </c:cat>
          <c:val>
            <c:numRef>
              <c:f>Sheet1!$D$2:$D$7</c:f>
              <c:numCache>
                <c:formatCode>General</c:formatCode>
                <c:ptCount val="6"/>
                <c:pt idx="0">
                  <c:v>1980.3182</c:v>
                </c:pt>
                <c:pt idx="1">
                  <c:v>1176.9447</c:v>
                </c:pt>
                <c:pt idx="2">
                  <c:v>5368.7125</c:v>
                </c:pt>
                <c:pt idx="3">
                  <c:v>0.0</c:v>
                </c:pt>
                <c:pt idx="4">
                  <c:v>1055.4155</c:v>
                </c:pt>
                <c:pt idx="5">
                  <c:v>1010.15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Hawaiian Tropic</c:v>
                  </c:pt>
                  <c:pt idx="2">
                    <c:v>Total</c:v>
                  </c:pt>
                  <c:pt idx="3">
                    <c:v>Hawaiian Tropic</c:v>
                  </c:pt>
                  <c:pt idx="4">
                    <c:v>Total</c:v>
                  </c:pt>
                  <c:pt idx="5">
                    <c:v>Hawaiian Tropic</c:v>
                  </c:pt>
                </c:lvl>
                <c:lvl>
                  <c:pt idx="0">
                    <c:v>Sunscreen</c:v>
                  </c:pt>
                  <c:pt idx="2">
                    <c:v>Tanning</c:v>
                  </c:pt>
                  <c:pt idx="4">
                    <c:v>After Sun</c:v>
                  </c:pt>
                </c:lvl>
              </c:multiLvlStrCache>
            </c:multiLvlStrRef>
          </c:cat>
          <c:val>
            <c:numRef>
              <c:f>Sheet1!$C$2:$C$7</c:f>
              <c:numCache>
                <c:formatCode>General</c:formatCode>
                <c:ptCount val="6"/>
                <c:pt idx="0">
                  <c:v>256.9</c:v>
                </c:pt>
                <c:pt idx="1">
                  <c:v>45.9</c:v>
                </c:pt>
                <c:pt idx="2">
                  <c:v>8.3</c:v>
                </c:pt>
                <c:pt idx="3">
                  <c:v>3.0</c:v>
                </c:pt>
                <c:pt idx="4">
                  <c:v>8.2</c:v>
                </c:pt>
                <c:pt idx="5">
                  <c:v>2.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79.99</a:t>
                    </a:r>
                  </a:p>
                </c:rich>
              </c:tx>
              <c:dLblPos val="t"/>
              <c:showLegendKey val="0"/>
              <c:showVal val="1"/>
              <c:showCatName val="0"/>
              <c:showSerName val="0"/>
              <c:showPercent val="0"/>
              <c:showBubbleSize val="0"/>
            </c:dLbl>
            <c:dLbl>
              <c:idx val="1"/>
              <c:tx>
                <c:rich>
                  <a:bodyPr/>
                  <a:lstStyle/>
                  <a:p>
                    <a:r>
                      <a:t>1177.5</a:t>
                    </a:r>
                  </a:p>
                </c:rich>
              </c:tx>
              <c:dLblPos val="t"/>
              <c:showLegendKey val="0"/>
              <c:showVal val="1"/>
              <c:showCatName val="0"/>
              <c:showSerName val="0"/>
              <c:showPercent val="0"/>
              <c:showBubbleSize val="0"/>
            </c:dLbl>
            <c:dLbl>
              <c:idx val="2"/>
              <c:tx>
                <c:rich>
                  <a:bodyPr/>
                  <a:lstStyle/>
                  <a:p>
                    <a:r>
                      <a:t>1175.47</a:t>
                    </a:r>
                  </a:p>
                </c:rich>
              </c:tx>
              <c:dLblPos val="t"/>
              <c:showLegendKey val="0"/>
              <c:showVal val="1"/>
              <c:showCatName val="0"/>
              <c:showSerName val="0"/>
              <c:showPercent val="0"/>
              <c:showBubbleSize val="0"/>
            </c:dLbl>
            <c:dLbl>
              <c:idx val="3"/>
              <c:tx>
                <c:rich>
                  <a:bodyPr/>
                  <a:lstStyle/>
                  <a:p>
                    <a:r>
                      <a:t>1135.24</a:t>
                    </a:r>
                  </a:p>
                </c:rich>
              </c:tx>
              <c:dLblPos val="t"/>
              <c:showLegendKey val="0"/>
              <c:showVal val="1"/>
              <c:showCatName val="0"/>
              <c:showSerName val="0"/>
              <c:showPercent val="0"/>
              <c:showBubbleSize val="0"/>
            </c:dLbl>
            <c:dLbl>
              <c:idx val="4"/>
              <c:tx>
                <c:rich>
                  <a:bodyPr/>
                  <a:lstStyle/>
                  <a:p>
                    <a:r>
                      <a:t>631.64</a:t>
                    </a:r>
                  </a:p>
                </c:rich>
              </c:tx>
              <c:dLblPos val="t"/>
              <c:showLegendKey val="0"/>
              <c:showVal val="1"/>
              <c:showCatName val="0"/>
              <c:showSerName val="0"/>
              <c:showPercent val="0"/>
              <c:showBubbleSize val="0"/>
            </c:dLbl>
            <c:dLbl>
              <c:idx val="5"/>
              <c:tx>
                <c:rich>
                  <a:bodyPr/>
                  <a:lstStyle/>
                  <a:p>
                    <a:r>
                      <a:t>627.84</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Hawaiian Tropic</c:v>
                  </c:pt>
                  <c:pt idx="2">
                    <c:v>Total</c:v>
                  </c:pt>
                  <c:pt idx="3">
                    <c:v>Hawaiian Tropic</c:v>
                  </c:pt>
                  <c:pt idx="4">
                    <c:v>Total</c:v>
                  </c:pt>
                  <c:pt idx="5">
                    <c:v>Hawaiian Tropic</c:v>
                  </c:pt>
                </c:lvl>
                <c:lvl>
                  <c:pt idx="0">
                    <c:v>Sunscreen</c:v>
                  </c:pt>
                  <c:pt idx="2">
                    <c:v>Tanning</c:v>
                  </c:pt>
                  <c:pt idx="4">
                    <c:v>After Sun</c:v>
                  </c:pt>
                </c:lvl>
              </c:multiLvlStrCache>
            </c:multiLvlStrRef>
          </c:cat>
          <c:val>
            <c:numRef>
              <c:f>Sheet1!$D$2:$D$7</c:f>
              <c:numCache>
                <c:formatCode>General</c:formatCode>
                <c:ptCount val="6"/>
                <c:pt idx="0">
                  <c:v>1379.9932</c:v>
                </c:pt>
                <c:pt idx="1">
                  <c:v>1177.5009</c:v>
                </c:pt>
                <c:pt idx="2">
                  <c:v>1175.4741</c:v>
                </c:pt>
                <c:pt idx="3">
                  <c:v>1135.2434</c:v>
                </c:pt>
                <c:pt idx="4">
                  <c:v>631.6371</c:v>
                </c:pt>
                <c:pt idx="5">
                  <c:v>627.838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Hawaiian Tropic</c:v>
                  </c:pt>
                  <c:pt idx="2">
                    <c:v>Total</c:v>
                  </c:pt>
                  <c:pt idx="3">
                    <c:v>Hawaiian Tropic</c:v>
                  </c:pt>
                  <c:pt idx="4">
                    <c:v>Total</c:v>
                  </c:pt>
                  <c:pt idx="5">
                    <c:v>Hawaiian Tropic</c:v>
                  </c:pt>
                </c:lvl>
                <c:lvl>
                  <c:pt idx="0">
                    <c:v>Sunscreen</c:v>
                  </c:pt>
                  <c:pt idx="2">
                    <c:v>Tanning</c:v>
                  </c:pt>
                  <c:pt idx="4">
                    <c:v>After Sun</c:v>
                  </c:pt>
                </c:lvl>
              </c:multiLvlStrCache>
            </c:multiLvlStrRef>
          </c:cat>
          <c:val>
            <c:numRef>
              <c:f>Sheet1!$C$2:$C$7</c:f>
              <c:numCache>
                <c:formatCode>General</c:formatCode>
                <c:ptCount val="6"/>
                <c:pt idx="0">
                  <c:v>255.4</c:v>
                </c:pt>
                <c:pt idx="1">
                  <c:v>38.7</c:v>
                </c:pt>
                <c:pt idx="2">
                  <c:v>5.3</c:v>
                </c:pt>
                <c:pt idx="3">
                  <c:v>2.4</c:v>
                </c:pt>
                <c:pt idx="4">
                  <c:v>3.3</c:v>
                </c:pt>
                <c:pt idx="5">
                  <c:v>1.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80.56</a:t>
                    </a:r>
                  </a:p>
                </c:rich>
              </c:tx>
              <c:dLblPos val="t"/>
              <c:showLegendKey val="0"/>
              <c:showVal val="1"/>
              <c:showCatName val="0"/>
              <c:showSerName val="0"/>
              <c:showPercent val="0"/>
              <c:showBubbleSize val="0"/>
            </c:dLbl>
            <c:dLbl>
              <c:idx val="1"/>
              <c:tx>
                <c:rich>
                  <a:bodyPr/>
                  <a:lstStyle/>
                  <a:p>
                    <a:r>
                      <a:t>1196.07</a:t>
                    </a:r>
                  </a:p>
                </c:rich>
              </c:tx>
              <c:dLblPos val="t"/>
              <c:showLegendKey val="0"/>
              <c:showVal val="1"/>
              <c:showCatName val="0"/>
              <c:showSerName val="0"/>
              <c:showPercent val="0"/>
              <c:showBubbleSize val="0"/>
            </c:dLbl>
            <c:dLbl>
              <c:idx val="2"/>
              <c:tx>
                <c:rich>
                  <a:bodyPr/>
                  <a:lstStyle/>
                  <a:p>
                    <a:r>
                      <a:t>1114.83</a:t>
                    </a:r>
                  </a:p>
                </c:rich>
              </c:tx>
              <c:dLblPos val="t"/>
              <c:showLegendKey val="0"/>
              <c:showVal val="1"/>
              <c:showCatName val="0"/>
              <c:showSerName val="0"/>
              <c:showPercent val="0"/>
              <c:showBubbleSize val="0"/>
            </c:dLbl>
            <c:dLbl>
              <c:idx val="3"/>
              <c:tx>
                <c:rich>
                  <a:bodyPr/>
                  <a:lstStyle/>
                  <a:p>
                    <a:r>
                      <a:t>1110.6</a:t>
                    </a:r>
                  </a:p>
                </c:rich>
              </c:tx>
              <c:dLblPos val="t"/>
              <c:showLegendKey val="0"/>
              <c:showVal val="1"/>
              <c:showCatName val="0"/>
              <c:showSerName val="0"/>
              <c:showPercent val="0"/>
              <c:showBubbleSize val="0"/>
            </c:dLbl>
            <c:dLbl>
              <c:idx val="4"/>
              <c:tx>
                <c:rich>
                  <a:bodyPr/>
                  <a:lstStyle/>
                  <a:p>
                    <a:r>
                      <a:t>562.08</a:t>
                    </a:r>
                  </a:p>
                </c:rich>
              </c:tx>
              <c:dLblPos val="t"/>
              <c:showLegendKey val="0"/>
              <c:showVal val="1"/>
              <c:showCatName val="0"/>
              <c:showSerName val="0"/>
              <c:showPercent val="0"/>
              <c:showBubbleSize val="0"/>
            </c:dLbl>
            <c:dLbl>
              <c:idx val="5"/>
              <c:tx>
                <c:rich>
                  <a:bodyPr/>
                  <a:lstStyle/>
                  <a:p>
                    <a:r>
                      <a:t>706.36</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Hawaiian Tropic</c:v>
                  </c:pt>
                  <c:pt idx="2">
                    <c:v>Total</c:v>
                  </c:pt>
                  <c:pt idx="3">
                    <c:v>Hawaiian Tropic</c:v>
                  </c:pt>
                  <c:pt idx="4">
                    <c:v>Total</c:v>
                  </c:pt>
                  <c:pt idx="5">
                    <c:v>Hawaiian Tropic</c:v>
                  </c:pt>
                </c:lvl>
                <c:lvl>
                  <c:pt idx="0">
                    <c:v>Sunscreen</c:v>
                  </c:pt>
                  <c:pt idx="2">
                    <c:v>Tanning</c:v>
                  </c:pt>
                  <c:pt idx="4">
                    <c:v>After Sun</c:v>
                  </c:pt>
                </c:lvl>
              </c:multiLvlStrCache>
            </c:multiLvlStrRef>
          </c:cat>
          <c:val>
            <c:numRef>
              <c:f>Sheet1!$D$2:$D$7</c:f>
              <c:numCache>
                <c:formatCode>General</c:formatCode>
                <c:ptCount val="6"/>
                <c:pt idx="0">
                  <c:v>1580.5577</c:v>
                </c:pt>
                <c:pt idx="1">
                  <c:v>1196.0652</c:v>
                </c:pt>
                <c:pt idx="2">
                  <c:v>1114.8275</c:v>
                </c:pt>
                <c:pt idx="3">
                  <c:v>1110.5969</c:v>
                </c:pt>
                <c:pt idx="4">
                  <c:v>562.0821</c:v>
                </c:pt>
                <c:pt idx="5">
                  <c:v>706.364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c:v>
                  </c:pt>
                  <c:pt idx="2">
                    <c:v>Tanning</c:v>
                  </c:pt>
                  <c:pt idx="4">
                    <c:v>After Sun</c:v>
                  </c:pt>
                  <c:pt idx="6">
                    <c:v>Banded Pack</c:v>
                  </c:pt>
                </c:lvl>
              </c:multiLvlStrCache>
            </c:multiLvlStrRef>
          </c:cat>
          <c:val>
            <c:numRef>
              <c:f>Sheet1!$C$2:$C$9</c:f>
              <c:numCache>
                <c:formatCode>General</c:formatCode>
                <c:ptCount val="8"/>
                <c:pt idx="0">
                  <c:v>243.9</c:v>
                </c:pt>
                <c:pt idx="1">
                  <c:v>43.6</c:v>
                </c:pt>
                <c:pt idx="2">
                  <c:v>5.9</c:v>
                </c:pt>
                <c:pt idx="3">
                  <c:v>2.7</c:v>
                </c:pt>
                <c:pt idx="4">
                  <c:v>3.9</c:v>
                </c:pt>
                <c:pt idx="5">
                  <c:v>1.6</c:v>
                </c:pt>
                <c:pt idx="6">
                  <c:v>2.6</c:v>
                </c:pt>
                <c:pt idx="7">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98.77</a:t>
                    </a:r>
                  </a:p>
                </c:rich>
              </c:tx>
              <c:dLblPos val="t"/>
              <c:showLegendKey val="0"/>
              <c:showVal val="1"/>
              <c:showCatName val="0"/>
              <c:showSerName val="0"/>
              <c:showPercent val="0"/>
              <c:showBubbleSize val="0"/>
            </c:dLbl>
            <c:dLbl>
              <c:idx val="1"/>
              <c:tx>
                <c:rich>
                  <a:bodyPr/>
                  <a:lstStyle/>
                  <a:p>
                    <a:r>
                      <a:t>1247.48</a:t>
                    </a:r>
                  </a:p>
                </c:rich>
              </c:tx>
              <c:dLblPos val="t"/>
              <c:showLegendKey val="0"/>
              <c:showVal val="1"/>
              <c:showCatName val="0"/>
              <c:showSerName val="0"/>
              <c:showPercent val="0"/>
              <c:showBubbleSize val="0"/>
            </c:dLbl>
            <c:dLbl>
              <c:idx val="2"/>
              <c:tx>
                <c:rich>
                  <a:bodyPr/>
                  <a:lstStyle/>
                  <a:p>
                    <a:r>
                      <a:t>1094.98</a:t>
                    </a:r>
                  </a:p>
                </c:rich>
              </c:tx>
              <c:dLblPos val="t"/>
              <c:showLegendKey val="0"/>
              <c:showVal val="1"/>
              <c:showCatName val="0"/>
              <c:showSerName val="0"/>
              <c:showPercent val="0"/>
              <c:showBubbleSize val="0"/>
            </c:dLbl>
            <c:dLbl>
              <c:idx val="3"/>
              <c:tx>
                <c:rich>
                  <a:bodyPr/>
                  <a:lstStyle/>
                  <a:p>
                    <a:r>
                      <a:t>1141.92</a:t>
                    </a:r>
                  </a:p>
                </c:rich>
              </c:tx>
              <c:dLblPos val="t"/>
              <c:showLegendKey val="0"/>
              <c:showVal val="1"/>
              <c:showCatName val="0"/>
              <c:showSerName val="0"/>
              <c:showPercent val="0"/>
              <c:showBubbleSize val="0"/>
            </c:dLbl>
            <c:dLbl>
              <c:idx val="4"/>
              <c:tx>
                <c:rich>
                  <a:bodyPr/>
                  <a:lstStyle/>
                  <a:p>
                    <a:r>
                      <a:t>558.19</a:t>
                    </a:r>
                  </a:p>
                </c:rich>
              </c:tx>
              <c:dLblPos val="t"/>
              <c:showLegendKey val="0"/>
              <c:showVal val="1"/>
              <c:showCatName val="0"/>
              <c:showSerName val="0"/>
              <c:showPercent val="0"/>
              <c:showBubbleSize val="0"/>
            </c:dLbl>
            <c:dLbl>
              <c:idx val="5"/>
              <c:tx>
                <c:rich>
                  <a:bodyPr/>
                  <a:lstStyle/>
                  <a:p>
                    <a:r>
                      <a:t>705.32</a:t>
                    </a:r>
                  </a:p>
                </c:rich>
              </c:tx>
              <c:dLblPos val="t"/>
              <c:showLegendKey val="0"/>
              <c:showVal val="1"/>
              <c:showCatName val="0"/>
              <c:showSerName val="0"/>
              <c:showPercent val="0"/>
              <c:showBubbleSize val="0"/>
            </c:dLbl>
            <c:dLbl>
              <c:idx val="6"/>
              <c:tx>
                <c:rich>
                  <a:bodyPr/>
                  <a:lstStyle/>
                  <a:p>
                    <a:r>
                      <a:t>6026.64</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c:v>
                  </c:pt>
                  <c:pt idx="2">
                    <c:v>Tanning</c:v>
                  </c:pt>
                  <c:pt idx="4">
                    <c:v>After Sun</c:v>
                  </c:pt>
                  <c:pt idx="6">
                    <c:v>Banded Pack</c:v>
                  </c:pt>
                </c:lvl>
              </c:multiLvlStrCache>
            </c:multiLvlStrRef>
          </c:cat>
          <c:val>
            <c:numRef>
              <c:f>Sheet1!$D$2:$D$9</c:f>
              <c:numCache>
                <c:formatCode>General</c:formatCode>
                <c:ptCount val="8"/>
                <c:pt idx="0">
                  <c:v>1598.7659</c:v>
                </c:pt>
                <c:pt idx="1">
                  <c:v>1247.4781</c:v>
                </c:pt>
                <c:pt idx="2">
                  <c:v>1094.9781</c:v>
                </c:pt>
                <c:pt idx="3">
                  <c:v>1141.9157</c:v>
                </c:pt>
                <c:pt idx="4">
                  <c:v>558.1863</c:v>
                </c:pt>
                <c:pt idx="5">
                  <c:v>705.3218</c:v>
                </c:pt>
                <c:pt idx="6">
                  <c:v>6026.6384</c:v>
                </c:pt>
                <c:pt idx="7">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Hawaiian Tropic</c:v>
                  </c:pt>
                  <c:pt idx="2">
                    <c:v>Total</c:v>
                  </c:pt>
                  <c:pt idx="3">
                    <c:v>Hawaiian Tropic</c:v>
                  </c:pt>
                  <c:pt idx="4">
                    <c:v>Total</c:v>
                  </c:pt>
                  <c:pt idx="5">
                    <c:v>Hawaiian Tropic</c:v>
                  </c:pt>
                </c:lvl>
                <c:lvl>
                  <c:pt idx="0">
                    <c:v>Sunscreen</c:v>
                  </c:pt>
                  <c:pt idx="2">
                    <c:v>Tanning</c:v>
                  </c:pt>
                  <c:pt idx="4">
                    <c:v>After Sun</c:v>
                  </c:pt>
                </c:lvl>
              </c:multiLvlStrCache>
            </c:multiLvlStrRef>
          </c:cat>
          <c:val>
            <c:numRef>
              <c:f>Sheet1!$C$2:$C$7</c:f>
              <c:numCache>
                <c:formatCode>General</c:formatCode>
                <c:ptCount val="6"/>
                <c:pt idx="0">
                  <c:v>180.1</c:v>
                </c:pt>
                <c:pt idx="1">
                  <c:v>31.7</c:v>
                </c:pt>
                <c:pt idx="2">
                  <c:v>4.0</c:v>
                </c:pt>
                <c:pt idx="3">
                  <c:v>1.7</c:v>
                </c:pt>
                <c:pt idx="4">
                  <c:v>3.0</c:v>
                </c:pt>
                <c:pt idx="5">
                  <c:v>1.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73.0</a:t>
                    </a:r>
                  </a:p>
                </c:rich>
              </c:tx>
              <c:dLblPos val="t"/>
              <c:showLegendKey val="0"/>
              <c:showVal val="1"/>
              <c:showCatName val="0"/>
              <c:showSerName val="0"/>
              <c:showPercent val="0"/>
              <c:showBubbleSize val="0"/>
            </c:dLbl>
            <c:dLbl>
              <c:idx val="1"/>
              <c:tx>
                <c:rich>
                  <a:bodyPr/>
                  <a:lstStyle/>
                  <a:p>
                    <a:r>
                      <a:t>1257.07</a:t>
                    </a:r>
                  </a:p>
                </c:rich>
              </c:tx>
              <c:dLblPos val="t"/>
              <c:showLegendKey val="0"/>
              <c:showVal val="1"/>
              <c:showCatName val="0"/>
              <c:showSerName val="0"/>
              <c:showPercent val="0"/>
              <c:showBubbleSize val="0"/>
            </c:dLbl>
            <c:dLbl>
              <c:idx val="2"/>
              <c:tx>
                <c:rich>
                  <a:bodyPr/>
                  <a:lstStyle/>
                  <a:p>
                    <a:r>
                      <a:t>1142.43</a:t>
                    </a:r>
                  </a:p>
                </c:rich>
              </c:tx>
              <c:dLblPos val="t"/>
              <c:showLegendKey val="0"/>
              <c:showVal val="1"/>
              <c:showCatName val="0"/>
              <c:showSerName val="0"/>
              <c:showPercent val="0"/>
              <c:showBubbleSize val="0"/>
            </c:dLbl>
            <c:dLbl>
              <c:idx val="3"/>
              <c:tx>
                <c:rich>
                  <a:bodyPr/>
                  <a:lstStyle/>
                  <a:p>
                    <a:r>
                      <a:t>1129.8</a:t>
                    </a:r>
                  </a:p>
                </c:rich>
              </c:tx>
              <c:dLblPos val="t"/>
              <c:showLegendKey val="0"/>
              <c:showVal val="1"/>
              <c:showCatName val="0"/>
              <c:showSerName val="0"/>
              <c:showPercent val="0"/>
              <c:showBubbleSize val="0"/>
            </c:dLbl>
            <c:dLbl>
              <c:idx val="4"/>
              <c:tx>
                <c:rich>
                  <a:bodyPr/>
                  <a:lstStyle/>
                  <a:p>
                    <a:r>
                      <a:t>580.67</a:t>
                    </a:r>
                  </a:p>
                </c:rich>
              </c:tx>
              <c:dLblPos val="t"/>
              <c:showLegendKey val="0"/>
              <c:showVal val="1"/>
              <c:showCatName val="0"/>
              <c:showSerName val="0"/>
              <c:showPercent val="0"/>
              <c:showBubbleSize val="0"/>
            </c:dLbl>
            <c:dLbl>
              <c:idx val="5"/>
              <c:tx>
                <c:rich>
                  <a:bodyPr/>
                  <a:lstStyle/>
                  <a:p>
                    <a:r>
                      <a:t>710.32</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Hawaiian Tropic</c:v>
                  </c:pt>
                  <c:pt idx="2">
                    <c:v>Total</c:v>
                  </c:pt>
                  <c:pt idx="3">
                    <c:v>Hawaiian Tropic</c:v>
                  </c:pt>
                  <c:pt idx="4">
                    <c:v>Total</c:v>
                  </c:pt>
                  <c:pt idx="5">
                    <c:v>Hawaiian Tropic</c:v>
                  </c:pt>
                </c:lvl>
                <c:lvl>
                  <c:pt idx="0">
                    <c:v>Sunscreen</c:v>
                  </c:pt>
                  <c:pt idx="2">
                    <c:v>Tanning</c:v>
                  </c:pt>
                  <c:pt idx="4">
                    <c:v>After Sun</c:v>
                  </c:pt>
                </c:lvl>
              </c:multiLvlStrCache>
            </c:multiLvlStrRef>
          </c:cat>
          <c:val>
            <c:numRef>
              <c:f>Sheet1!$D$2:$D$7</c:f>
              <c:numCache>
                <c:formatCode>General</c:formatCode>
                <c:ptCount val="6"/>
                <c:pt idx="0">
                  <c:v>1573.0022</c:v>
                </c:pt>
                <c:pt idx="1">
                  <c:v>1257.0679</c:v>
                </c:pt>
                <c:pt idx="2">
                  <c:v>1142.4345</c:v>
                </c:pt>
                <c:pt idx="3">
                  <c:v>1129.7966</c:v>
                </c:pt>
                <c:pt idx="4">
                  <c:v>580.6657</c:v>
                </c:pt>
                <c:pt idx="5">
                  <c:v>710.318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c:v>
                  </c:pt>
                  <c:pt idx="2">
                    <c:v>Tanning</c:v>
                  </c:pt>
                  <c:pt idx="4">
                    <c:v>After Sun</c:v>
                  </c:pt>
                  <c:pt idx="6">
                    <c:v>Banded Pack</c:v>
                  </c:pt>
                </c:lvl>
              </c:multiLvlStrCache>
            </c:multiLvlStrRef>
          </c:cat>
          <c:val>
            <c:numRef>
              <c:f>Sheet1!$C$2:$C$9</c:f>
              <c:numCache>
                <c:formatCode>General</c:formatCode>
                <c:ptCount val="8"/>
                <c:pt idx="0">
                  <c:v>1567.1</c:v>
                </c:pt>
                <c:pt idx="1">
                  <c:v>205.3</c:v>
                </c:pt>
                <c:pt idx="2">
                  <c:v>32.5</c:v>
                </c:pt>
                <c:pt idx="3">
                  <c:v>2.8</c:v>
                </c:pt>
                <c:pt idx="4">
                  <c:v>25.0</c:v>
                </c:pt>
                <c:pt idx="5">
                  <c:v>7.4</c:v>
                </c:pt>
                <c:pt idx="6">
                  <c:v>18.9</c:v>
                </c:pt>
                <c:pt idx="7">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19.42</a:t>
                    </a:r>
                  </a:p>
                </c:rich>
              </c:tx>
              <c:dLblPos val="t"/>
              <c:showLegendKey val="0"/>
              <c:showVal val="1"/>
              <c:showCatName val="0"/>
              <c:showSerName val="0"/>
              <c:showPercent val="0"/>
              <c:showBubbleSize val="0"/>
            </c:dLbl>
            <c:dLbl>
              <c:idx val="1"/>
              <c:tx>
                <c:rich>
                  <a:bodyPr/>
                  <a:lstStyle/>
                  <a:p>
                    <a:r>
                      <a:t>1216.76</a:t>
                    </a:r>
                  </a:p>
                </c:rich>
              </c:tx>
              <c:dLblPos val="t"/>
              <c:showLegendKey val="0"/>
              <c:showVal val="1"/>
              <c:showCatName val="0"/>
              <c:showSerName val="0"/>
              <c:showPercent val="0"/>
              <c:showBubbleSize val="0"/>
            </c:dLbl>
            <c:dLbl>
              <c:idx val="2"/>
              <c:tx>
                <c:rich>
                  <a:bodyPr/>
                  <a:lstStyle/>
                  <a:p>
                    <a:r>
                      <a:t>1116.29</a:t>
                    </a:r>
                  </a:p>
                </c:rich>
              </c:tx>
              <c:dLblPos val="t"/>
              <c:showLegendKey val="0"/>
              <c:showVal val="1"/>
              <c:showCatName val="0"/>
              <c:showSerName val="0"/>
              <c:showPercent val="0"/>
              <c:showBubbleSize val="0"/>
            </c:dLbl>
            <c:dLbl>
              <c:idx val="3"/>
              <c:tx>
                <c:rich>
                  <a:bodyPr/>
                  <a:lstStyle/>
                  <a:p>
                    <a:r>
                      <a:t>932.19</a:t>
                    </a:r>
                  </a:p>
                </c:rich>
              </c:tx>
              <c:dLblPos val="t"/>
              <c:showLegendKey val="0"/>
              <c:showVal val="1"/>
              <c:showCatName val="0"/>
              <c:showSerName val="0"/>
              <c:showPercent val="0"/>
              <c:showBubbleSize val="0"/>
            </c:dLbl>
            <c:dLbl>
              <c:idx val="4"/>
              <c:tx>
                <c:rich>
                  <a:bodyPr/>
                  <a:lstStyle/>
                  <a:p>
                    <a:r>
                      <a:t>577.77</a:t>
                    </a:r>
                  </a:p>
                </c:rich>
              </c:tx>
              <c:dLblPos val="t"/>
              <c:showLegendKey val="0"/>
              <c:showVal val="1"/>
              <c:showCatName val="0"/>
              <c:showSerName val="0"/>
              <c:showPercent val="0"/>
              <c:showBubbleSize val="0"/>
            </c:dLbl>
            <c:dLbl>
              <c:idx val="5"/>
              <c:tx>
                <c:rich>
                  <a:bodyPr/>
                  <a:lstStyle/>
                  <a:p>
                    <a:r>
                      <a:t>439.69</a:t>
                    </a:r>
                  </a:p>
                </c:rich>
              </c:tx>
              <c:dLblPos val="t"/>
              <c:showLegendKey val="0"/>
              <c:showVal val="1"/>
              <c:showCatName val="0"/>
              <c:showSerName val="0"/>
              <c:showPercent val="0"/>
              <c:showBubbleSize val="0"/>
            </c:dLbl>
            <c:dLbl>
              <c:idx val="6"/>
              <c:tx>
                <c:rich>
                  <a:bodyPr/>
                  <a:lstStyle/>
                  <a:p>
                    <a:r>
                      <a:t>4966.24</a:t>
                    </a:r>
                  </a:p>
                </c:rich>
              </c:tx>
              <c:dLblPos val="t"/>
              <c:showLegendKey val="0"/>
              <c:showVal val="1"/>
              <c:showCatName val="0"/>
              <c:showSerName val="0"/>
              <c:showPercent val="0"/>
              <c:showBubbleSize val="0"/>
            </c:dLbl>
            <c:dLbl>
              <c:idx val="7"/>
              <c:tx>
                <c:rich>
                  <a:bodyPr/>
                  <a:lstStyle/>
                  <a:p>
                    <a:r>
                      <a:t>818.45</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c:v>
                  </c:pt>
                  <c:pt idx="2">
                    <c:v>Tanning</c:v>
                  </c:pt>
                  <c:pt idx="4">
                    <c:v>After Sun</c:v>
                  </c:pt>
                  <c:pt idx="6">
                    <c:v>Banded Pack</c:v>
                  </c:pt>
                </c:lvl>
              </c:multiLvlStrCache>
            </c:multiLvlStrRef>
          </c:cat>
          <c:val>
            <c:numRef>
              <c:f>Sheet1!$D$2:$D$9</c:f>
              <c:numCache>
                <c:formatCode>General</c:formatCode>
                <c:ptCount val="8"/>
                <c:pt idx="0">
                  <c:v>1619.4179</c:v>
                </c:pt>
                <c:pt idx="1">
                  <c:v>1216.7598</c:v>
                </c:pt>
                <c:pt idx="2">
                  <c:v>1116.2927</c:v>
                </c:pt>
                <c:pt idx="3">
                  <c:v>932.1867</c:v>
                </c:pt>
                <c:pt idx="4">
                  <c:v>577.7724</c:v>
                </c:pt>
                <c:pt idx="5">
                  <c:v>439.6945</c:v>
                </c:pt>
                <c:pt idx="6">
                  <c:v>4966.239</c:v>
                </c:pt>
                <c:pt idx="7">
                  <c:v>818.452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anana Boat</c:v>
                  </c:pt>
                  <c:pt idx="2">
                    <c:v>Total</c:v>
                  </c:pt>
                  <c:pt idx="3">
                    <c:v>Banana Boat</c:v>
                  </c:pt>
                  <c:pt idx="4">
                    <c:v>Total</c:v>
                  </c:pt>
                  <c:pt idx="5">
                    <c:v>Banana Boat</c:v>
                  </c:pt>
                </c:lvl>
                <c:lvl>
                  <c:pt idx="0">
                    <c:v>Sunscreen</c:v>
                  </c:pt>
                  <c:pt idx="2">
                    <c:v>Tanning</c:v>
                  </c:pt>
                  <c:pt idx="4">
                    <c:v>After Sun</c:v>
                  </c:pt>
                </c:lvl>
              </c:multiLvlStrCache>
            </c:multiLvlStrRef>
          </c:cat>
          <c:val>
            <c:numRef>
              <c:f>Sheet1!$C$2:$C$7</c:f>
              <c:numCache>
                <c:formatCode>General</c:formatCode>
                <c:ptCount val="6"/>
                <c:pt idx="0">
                  <c:v>338.2</c:v>
                </c:pt>
                <c:pt idx="1">
                  <c:v>39.7</c:v>
                </c:pt>
                <c:pt idx="2">
                  <c:v>5.9</c:v>
                </c:pt>
                <c:pt idx="3">
                  <c:v>0.6</c:v>
                </c:pt>
                <c:pt idx="4">
                  <c:v>4.5</c:v>
                </c:pt>
                <c:pt idx="5">
                  <c:v>1.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48.45</a:t>
                    </a:r>
                  </a:p>
                </c:rich>
              </c:tx>
              <c:dLblPos val="t"/>
              <c:showLegendKey val="0"/>
              <c:showVal val="1"/>
              <c:showCatName val="0"/>
              <c:showSerName val="0"/>
              <c:showPercent val="0"/>
              <c:showBubbleSize val="0"/>
            </c:dLbl>
            <c:dLbl>
              <c:idx val="1"/>
              <c:tx>
                <c:rich>
                  <a:bodyPr/>
                  <a:lstStyle/>
                  <a:p>
                    <a:r>
                      <a:t>1183.44</a:t>
                    </a:r>
                  </a:p>
                </c:rich>
              </c:tx>
              <c:dLblPos val="t"/>
              <c:showLegendKey val="0"/>
              <c:showVal val="1"/>
              <c:showCatName val="0"/>
              <c:showSerName val="0"/>
              <c:showPercent val="0"/>
              <c:showBubbleSize val="0"/>
            </c:dLbl>
            <c:dLbl>
              <c:idx val="2"/>
              <c:tx>
                <c:rich>
                  <a:bodyPr/>
                  <a:lstStyle/>
                  <a:p>
                    <a:r>
                      <a:t>1077.75</a:t>
                    </a:r>
                  </a:p>
                </c:rich>
              </c:tx>
              <c:dLblPos val="t"/>
              <c:showLegendKey val="0"/>
              <c:showVal val="1"/>
              <c:showCatName val="0"/>
              <c:showSerName val="0"/>
              <c:showPercent val="0"/>
              <c:showBubbleSize val="0"/>
            </c:dLbl>
            <c:dLbl>
              <c:idx val="3"/>
              <c:tx>
                <c:rich>
                  <a:bodyPr/>
                  <a:lstStyle/>
                  <a:p>
                    <a:r>
                      <a:t>925.34</a:t>
                    </a:r>
                  </a:p>
                </c:rich>
              </c:tx>
              <c:dLblPos val="t"/>
              <c:showLegendKey val="0"/>
              <c:showVal val="1"/>
              <c:showCatName val="0"/>
              <c:showSerName val="0"/>
              <c:showPercent val="0"/>
              <c:showBubbleSize val="0"/>
            </c:dLbl>
            <c:dLbl>
              <c:idx val="4"/>
              <c:tx>
                <c:rich>
                  <a:bodyPr/>
                  <a:lstStyle/>
                  <a:p>
                    <a:r>
                      <a:t>545.78</a:t>
                    </a:r>
                  </a:p>
                </c:rich>
              </c:tx>
              <c:dLblPos val="t"/>
              <c:showLegendKey val="0"/>
              <c:showVal val="1"/>
              <c:showCatName val="0"/>
              <c:showSerName val="0"/>
              <c:showPercent val="0"/>
              <c:showBubbleSize val="0"/>
            </c:dLbl>
            <c:dLbl>
              <c:idx val="5"/>
              <c:tx>
                <c:rich>
                  <a:bodyPr/>
                  <a:lstStyle/>
                  <a:p>
                    <a:r>
                      <a:t>431.06</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anana Boat</c:v>
                  </c:pt>
                  <c:pt idx="2">
                    <c:v>Total</c:v>
                  </c:pt>
                  <c:pt idx="3">
                    <c:v>Banana Boat</c:v>
                  </c:pt>
                  <c:pt idx="4">
                    <c:v>Total</c:v>
                  </c:pt>
                  <c:pt idx="5">
                    <c:v>Banana Boat</c:v>
                  </c:pt>
                </c:lvl>
                <c:lvl>
                  <c:pt idx="0">
                    <c:v>Sunscreen</c:v>
                  </c:pt>
                  <c:pt idx="2">
                    <c:v>Tanning</c:v>
                  </c:pt>
                  <c:pt idx="4">
                    <c:v>After Sun</c:v>
                  </c:pt>
                </c:lvl>
              </c:multiLvlStrCache>
            </c:multiLvlStrRef>
          </c:cat>
          <c:val>
            <c:numRef>
              <c:f>Sheet1!$D$2:$D$7</c:f>
              <c:numCache>
                <c:formatCode>General</c:formatCode>
                <c:ptCount val="6"/>
                <c:pt idx="0">
                  <c:v>1648.4515</c:v>
                </c:pt>
                <c:pt idx="1">
                  <c:v>1183.4413</c:v>
                </c:pt>
                <c:pt idx="2">
                  <c:v>1077.7548</c:v>
                </c:pt>
                <c:pt idx="3">
                  <c:v>925.3365</c:v>
                </c:pt>
                <c:pt idx="4">
                  <c:v>545.7791</c:v>
                </c:pt>
                <c:pt idx="5">
                  <c:v>431.06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F9320A4C-B85A-4570-87BC-FB48C97ECB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B6A6CBCE-B1F3-4959-A7CA-2A2D7B018F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FBEA7135-120E-42A3-A8F0-E891F99ACD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1F42C13B-F81C-4DB5-9CC9-487F500EA5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A7CB1DFD-5230-44B5-9FCE-66876D29BA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D3CE5078-DD06-4FB2-B9A5-AA83C2971B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6985086B-1050-4928-AA06-F7273827F3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7AC0CF19-ADA4-49D3-8182-BEBFB3FC36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588.7583</c:v>
                </c:pt>
                <c:pt idx="1">
                  <c:v>253.0152</c:v>
                </c:pt>
                <c:pt idx="2">
                  <c:v>430.094</c:v>
                </c:pt>
                <c:pt idx="3">
                  <c:v>382.2512</c:v>
                </c:pt>
                <c:pt idx="4">
                  <c:v>248.8271</c:v>
                </c:pt>
                <c:pt idx="5">
                  <c:v>200.5139</c:v>
                </c:pt>
              </c:numCache>
            </c:numRef>
          </c:xVal>
          <c:yVal>
            <c:numRef>
              <c:f>Sheet1!$B$2:$B$7</c:f>
              <c:numCache>
                <c:formatCode>General</c:formatCode>
                <c:ptCount val="6"/>
                <c:pt idx="0">
                  <c:v>1.933</c:v>
                </c:pt>
                <c:pt idx="1">
                  <c:v>0.584</c:v>
                </c:pt>
                <c:pt idx="2">
                  <c:v>4.19</c:v>
                </c:pt>
                <c:pt idx="3">
                  <c:v>1.159</c:v>
                </c:pt>
                <c:pt idx="4">
                  <c:v>2.893</c:v>
                </c:pt>
                <c:pt idx="5">
                  <c:v>0.379</c:v>
                </c:pt>
              </c:numCache>
            </c:numRef>
          </c:yVal>
          <c:bubbleSize>
            <c:numRef>
              <c:f>Sheet1!$C$2:$C$7</c:f>
              <c:numCache>
                <c:formatCode>General</c:formatCode>
                <c:ptCount val="6"/>
                <c:pt idx="0">
                  <c:v>1205777</c:v>
                </c:pt>
                <c:pt idx="1">
                  <c:v>365860</c:v>
                </c:pt>
                <c:pt idx="2">
                  <c:v>288163</c:v>
                </c:pt>
                <c:pt idx="3">
                  <c:v>241965</c:v>
                </c:pt>
                <c:pt idx="4">
                  <c:v>113714</c:v>
                </c:pt>
                <c:pt idx="5">
                  <c:v>5032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7.0"/>
          <c:min val="160.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anana Boat</c:v>
                  </c:pt>
                  <c:pt idx="2">
                    <c:v>Total</c:v>
                  </c:pt>
                  <c:pt idx="3">
                    <c:v>Banana Boat</c:v>
                  </c:pt>
                  <c:pt idx="4">
                    <c:v>Total</c:v>
                  </c:pt>
                  <c:pt idx="5">
                    <c:v>Banana Boat</c:v>
                  </c:pt>
                </c:lvl>
                <c:lvl>
                  <c:pt idx="0">
                    <c:v>Sunscreen</c:v>
                  </c:pt>
                  <c:pt idx="2">
                    <c:v>Banded Pack</c:v>
                  </c:pt>
                  <c:pt idx="4">
                    <c:v>Tanning</c:v>
                  </c:pt>
                </c:lvl>
              </c:multiLvlStrCache>
            </c:multiLvlStrRef>
          </c:cat>
          <c:val>
            <c:numRef>
              <c:f>Sheet1!$C$2:$C$7</c:f>
              <c:numCache>
                <c:formatCode>General</c:formatCode>
                <c:ptCount val="6"/>
                <c:pt idx="0">
                  <c:v>292.8</c:v>
                </c:pt>
                <c:pt idx="1">
                  <c:v>31.4</c:v>
                </c:pt>
                <c:pt idx="2">
                  <c:v>11.8</c:v>
                </c:pt>
                <c:pt idx="3">
                  <c:v>0.0</c:v>
                </c:pt>
                <c:pt idx="4">
                  <c:v>3.1</c:v>
                </c:pt>
                <c:pt idx="5">
                  <c:v>0.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980.32</a:t>
                    </a:r>
                  </a:p>
                </c:rich>
              </c:tx>
              <c:dLblPos val="t"/>
              <c:showLegendKey val="0"/>
              <c:showVal val="1"/>
              <c:showCatName val="0"/>
              <c:showSerName val="0"/>
              <c:showPercent val="0"/>
              <c:showBubbleSize val="0"/>
            </c:dLbl>
            <c:dLbl>
              <c:idx val="1"/>
              <c:tx>
                <c:rich>
                  <a:bodyPr/>
                  <a:lstStyle/>
                  <a:p>
                    <a:r>
                      <a:t>1175.73</a:t>
                    </a:r>
                  </a:p>
                </c:rich>
              </c:tx>
              <c:dLblPos val="t"/>
              <c:showLegendKey val="0"/>
              <c:showVal val="1"/>
              <c:showCatName val="0"/>
              <c:showSerName val="0"/>
              <c:showPercent val="0"/>
              <c:showBubbleSize val="0"/>
            </c:dLbl>
            <c:dLbl>
              <c:idx val="2"/>
              <c:tx>
                <c:rich>
                  <a:bodyPr/>
                  <a:lstStyle/>
                  <a:p>
                    <a:r>
                      <a:t>5368.71</a:t>
                    </a:r>
                  </a:p>
                </c:rich>
              </c:tx>
              <c:dLblPos val="t"/>
              <c:showLegendKey val="0"/>
              <c:showVal val="1"/>
              <c:showCatName val="0"/>
              <c:showSerName val="0"/>
              <c:showPercent val="0"/>
              <c:showBubbleSize val="0"/>
            </c:dLbl>
            <c:dLbl>
              <c:idx val="3"/>
              <c:tx>
                <c:rich>
                  <a:bodyPr/>
                  <a:lstStyle/>
                  <a:p>
                    <a:r>
                      <a:t>766.43</a:t>
                    </a:r>
                  </a:p>
                </c:rich>
              </c:tx>
              <c:dLblPos val="t"/>
              <c:showLegendKey val="0"/>
              <c:showVal val="1"/>
              <c:showCatName val="0"/>
              <c:showSerName val="0"/>
              <c:showPercent val="0"/>
              <c:showBubbleSize val="0"/>
            </c:dLbl>
            <c:dLbl>
              <c:idx val="4"/>
              <c:tx>
                <c:rich>
                  <a:bodyPr/>
                  <a:lstStyle/>
                  <a:p>
                    <a:r>
                      <a:t>1055.42</a:t>
                    </a:r>
                  </a:p>
                </c:rich>
              </c:tx>
              <c:dLblPos val="t"/>
              <c:showLegendKey val="0"/>
              <c:showVal val="1"/>
              <c:showCatName val="0"/>
              <c:showSerName val="0"/>
              <c:showPercent val="0"/>
              <c:showBubbleSize val="0"/>
            </c:dLbl>
            <c:dLbl>
              <c:idx val="5"/>
              <c:tx>
                <c:rich>
                  <a:bodyPr/>
                  <a:lstStyle/>
                  <a:p>
                    <a:r>
                      <a:t>894.27</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anana Boat</c:v>
                  </c:pt>
                  <c:pt idx="2">
                    <c:v>Total</c:v>
                  </c:pt>
                  <c:pt idx="3">
                    <c:v>Banana Boat</c:v>
                  </c:pt>
                  <c:pt idx="4">
                    <c:v>Total</c:v>
                  </c:pt>
                  <c:pt idx="5">
                    <c:v>Banana Boat</c:v>
                  </c:pt>
                </c:lvl>
                <c:lvl>
                  <c:pt idx="0">
                    <c:v>Sunscreen</c:v>
                  </c:pt>
                  <c:pt idx="2">
                    <c:v>Banded Pack</c:v>
                  </c:pt>
                  <c:pt idx="4">
                    <c:v>Tanning</c:v>
                  </c:pt>
                </c:lvl>
              </c:multiLvlStrCache>
            </c:multiLvlStrRef>
          </c:cat>
          <c:val>
            <c:numRef>
              <c:f>Sheet1!$D$2:$D$7</c:f>
              <c:numCache>
                <c:formatCode>General</c:formatCode>
                <c:ptCount val="6"/>
                <c:pt idx="0">
                  <c:v>1980.3182</c:v>
                </c:pt>
                <c:pt idx="1">
                  <c:v>1175.7283</c:v>
                </c:pt>
                <c:pt idx="2">
                  <c:v>5368.7125</c:v>
                </c:pt>
                <c:pt idx="3">
                  <c:v>766.4286</c:v>
                </c:pt>
                <c:pt idx="4">
                  <c:v>1055.4155</c:v>
                </c:pt>
                <c:pt idx="5">
                  <c:v>894.273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anana Boat</c:v>
                  </c:pt>
                  <c:pt idx="2">
                    <c:v>Total</c:v>
                  </c:pt>
                  <c:pt idx="3">
                    <c:v>Banana Boat</c:v>
                  </c:pt>
                  <c:pt idx="4">
                    <c:v>Total</c:v>
                  </c:pt>
                  <c:pt idx="5">
                    <c:v>Banana Boat</c:v>
                  </c:pt>
                </c:lvl>
                <c:lvl>
                  <c:pt idx="0">
                    <c:v>Sunscreen</c:v>
                  </c:pt>
                  <c:pt idx="2">
                    <c:v>Tanning</c:v>
                  </c:pt>
                  <c:pt idx="4">
                    <c:v>After Sun</c:v>
                  </c:pt>
                </c:lvl>
              </c:multiLvlStrCache>
            </c:multiLvlStrRef>
          </c:cat>
          <c:val>
            <c:numRef>
              <c:f>Sheet1!$C$2:$C$7</c:f>
              <c:numCache>
                <c:formatCode>General</c:formatCode>
                <c:ptCount val="6"/>
                <c:pt idx="0">
                  <c:v>256.9</c:v>
                </c:pt>
                <c:pt idx="1">
                  <c:v>33.8</c:v>
                </c:pt>
                <c:pt idx="2">
                  <c:v>8.3</c:v>
                </c:pt>
                <c:pt idx="3">
                  <c:v>0.3</c:v>
                </c:pt>
                <c:pt idx="4">
                  <c:v>8.2</c:v>
                </c:pt>
                <c:pt idx="5">
                  <c:v>1.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79.99</a:t>
                    </a:r>
                  </a:p>
                </c:rich>
              </c:tx>
              <c:dLblPos val="t"/>
              <c:showLegendKey val="0"/>
              <c:showVal val="1"/>
              <c:showCatName val="0"/>
              <c:showSerName val="0"/>
              <c:showPercent val="0"/>
              <c:showBubbleSize val="0"/>
            </c:dLbl>
            <c:dLbl>
              <c:idx val="1"/>
              <c:tx>
                <c:rich>
                  <a:bodyPr/>
                  <a:lstStyle/>
                  <a:p>
                    <a:r>
                      <a:t>1203.7</a:t>
                    </a:r>
                  </a:p>
                </c:rich>
              </c:tx>
              <c:dLblPos val="t"/>
              <c:showLegendKey val="0"/>
              <c:showVal val="1"/>
              <c:showCatName val="0"/>
              <c:showSerName val="0"/>
              <c:showPercent val="0"/>
              <c:showBubbleSize val="0"/>
            </c:dLbl>
            <c:dLbl>
              <c:idx val="2"/>
              <c:tx>
                <c:rich>
                  <a:bodyPr/>
                  <a:lstStyle/>
                  <a:p>
                    <a:r>
                      <a:t>1175.47</a:t>
                    </a:r>
                  </a:p>
                </c:rich>
              </c:tx>
              <c:dLblPos val="t"/>
              <c:showLegendKey val="0"/>
              <c:showVal val="1"/>
              <c:showCatName val="0"/>
              <c:showSerName val="0"/>
              <c:showPercent val="0"/>
              <c:showBubbleSize val="0"/>
            </c:dLbl>
            <c:dLbl>
              <c:idx val="3"/>
              <c:tx>
                <c:rich>
                  <a:bodyPr/>
                  <a:lstStyle/>
                  <a:p>
                    <a:r>
                      <a:t>974.75</a:t>
                    </a:r>
                  </a:p>
                </c:rich>
              </c:tx>
              <c:dLblPos val="t"/>
              <c:showLegendKey val="0"/>
              <c:showVal val="1"/>
              <c:showCatName val="0"/>
              <c:showSerName val="0"/>
              <c:showPercent val="0"/>
              <c:showBubbleSize val="0"/>
            </c:dLbl>
            <c:dLbl>
              <c:idx val="4"/>
              <c:tx>
                <c:rich>
                  <a:bodyPr/>
                  <a:lstStyle/>
                  <a:p>
                    <a:r>
                      <a:t>631.64</a:t>
                    </a:r>
                  </a:p>
                </c:rich>
              </c:tx>
              <c:dLblPos val="t"/>
              <c:showLegendKey val="0"/>
              <c:showVal val="1"/>
              <c:showCatName val="0"/>
              <c:showSerName val="0"/>
              <c:showPercent val="0"/>
              <c:showBubbleSize val="0"/>
            </c:dLbl>
            <c:dLbl>
              <c:idx val="5"/>
              <c:tx>
                <c:rich>
                  <a:bodyPr/>
                  <a:lstStyle/>
                  <a:p>
                    <a:r>
                      <a:t>424.46</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anana Boat</c:v>
                  </c:pt>
                  <c:pt idx="2">
                    <c:v>Total</c:v>
                  </c:pt>
                  <c:pt idx="3">
                    <c:v>Banana Boat</c:v>
                  </c:pt>
                  <c:pt idx="4">
                    <c:v>Total</c:v>
                  </c:pt>
                  <c:pt idx="5">
                    <c:v>Banana Boat</c:v>
                  </c:pt>
                </c:lvl>
                <c:lvl>
                  <c:pt idx="0">
                    <c:v>Sunscreen</c:v>
                  </c:pt>
                  <c:pt idx="2">
                    <c:v>Tanning</c:v>
                  </c:pt>
                  <c:pt idx="4">
                    <c:v>After Sun</c:v>
                  </c:pt>
                </c:lvl>
              </c:multiLvlStrCache>
            </c:multiLvlStrRef>
          </c:cat>
          <c:val>
            <c:numRef>
              <c:f>Sheet1!$D$2:$D$7</c:f>
              <c:numCache>
                <c:formatCode>General</c:formatCode>
                <c:ptCount val="6"/>
                <c:pt idx="0">
                  <c:v>1379.9932</c:v>
                </c:pt>
                <c:pt idx="1">
                  <c:v>1203.7001</c:v>
                </c:pt>
                <c:pt idx="2">
                  <c:v>1175.4741</c:v>
                </c:pt>
                <c:pt idx="3">
                  <c:v>974.7475</c:v>
                </c:pt>
                <c:pt idx="4">
                  <c:v>631.6371</c:v>
                </c:pt>
                <c:pt idx="5">
                  <c:v>424.45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anana Boat</c:v>
                  </c:pt>
                  <c:pt idx="2">
                    <c:v>Total</c:v>
                  </c:pt>
                  <c:pt idx="3">
                    <c:v>Banana Boat</c:v>
                  </c:pt>
                  <c:pt idx="4">
                    <c:v>Total</c:v>
                  </c:pt>
                  <c:pt idx="5">
                    <c:v>Banana Boat</c:v>
                  </c:pt>
                </c:lvl>
                <c:lvl>
                  <c:pt idx="0">
                    <c:v>Sunscreen</c:v>
                  </c:pt>
                  <c:pt idx="2">
                    <c:v>Tanning</c:v>
                  </c:pt>
                  <c:pt idx="4">
                    <c:v>After Sun</c:v>
                  </c:pt>
                </c:lvl>
              </c:multiLvlStrCache>
            </c:multiLvlStrRef>
          </c:cat>
          <c:val>
            <c:numRef>
              <c:f>Sheet1!$C$2:$C$7</c:f>
              <c:numCache>
                <c:formatCode>General</c:formatCode>
                <c:ptCount val="6"/>
                <c:pt idx="0">
                  <c:v>255.4</c:v>
                </c:pt>
                <c:pt idx="1">
                  <c:v>31.0</c:v>
                </c:pt>
                <c:pt idx="2">
                  <c:v>5.3</c:v>
                </c:pt>
                <c:pt idx="3">
                  <c:v>0.4</c:v>
                </c:pt>
                <c:pt idx="4">
                  <c:v>3.3</c:v>
                </c:pt>
                <c:pt idx="5">
                  <c:v>1.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80.56</a:t>
                    </a:r>
                  </a:p>
                </c:rich>
              </c:tx>
              <c:dLblPos val="t"/>
              <c:showLegendKey val="0"/>
              <c:showVal val="1"/>
              <c:showCatName val="0"/>
              <c:showSerName val="0"/>
              <c:showPercent val="0"/>
              <c:showBubbleSize val="0"/>
            </c:dLbl>
            <c:dLbl>
              <c:idx val="1"/>
              <c:tx>
                <c:rich>
                  <a:bodyPr/>
                  <a:lstStyle/>
                  <a:p>
                    <a:r>
                      <a:t>1181.68</a:t>
                    </a:r>
                  </a:p>
                </c:rich>
              </c:tx>
              <c:dLblPos val="t"/>
              <c:showLegendKey val="0"/>
              <c:showVal val="1"/>
              <c:showCatName val="0"/>
              <c:showSerName val="0"/>
              <c:showPercent val="0"/>
              <c:showBubbleSize val="0"/>
            </c:dLbl>
            <c:dLbl>
              <c:idx val="2"/>
              <c:tx>
                <c:rich>
                  <a:bodyPr/>
                  <a:lstStyle/>
                  <a:p>
                    <a:r>
                      <a:t>1114.83</a:t>
                    </a:r>
                  </a:p>
                </c:rich>
              </c:tx>
              <c:dLblPos val="t"/>
              <c:showLegendKey val="0"/>
              <c:showVal val="1"/>
              <c:showCatName val="0"/>
              <c:showSerName val="0"/>
              <c:showPercent val="0"/>
              <c:showBubbleSize val="0"/>
            </c:dLbl>
            <c:dLbl>
              <c:idx val="3"/>
              <c:tx>
                <c:rich>
                  <a:bodyPr/>
                  <a:lstStyle/>
                  <a:p>
                    <a:r>
                      <a:t>949.65</a:t>
                    </a:r>
                  </a:p>
                </c:rich>
              </c:tx>
              <c:dLblPos val="t"/>
              <c:showLegendKey val="0"/>
              <c:showVal val="1"/>
              <c:showCatName val="0"/>
              <c:showSerName val="0"/>
              <c:showPercent val="0"/>
              <c:showBubbleSize val="0"/>
            </c:dLbl>
            <c:dLbl>
              <c:idx val="4"/>
              <c:tx>
                <c:rich>
                  <a:bodyPr/>
                  <a:lstStyle/>
                  <a:p>
                    <a:r>
                      <a:t>562.08</a:t>
                    </a:r>
                  </a:p>
                </c:rich>
              </c:tx>
              <c:dLblPos val="t"/>
              <c:showLegendKey val="0"/>
              <c:showVal val="1"/>
              <c:showCatName val="0"/>
              <c:showSerName val="0"/>
              <c:showPercent val="0"/>
              <c:showBubbleSize val="0"/>
            </c:dLbl>
            <c:dLbl>
              <c:idx val="5"/>
              <c:tx>
                <c:rich>
                  <a:bodyPr/>
                  <a:lstStyle/>
                  <a:p>
                    <a:r>
                      <a:t>433.25</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anana Boat</c:v>
                  </c:pt>
                  <c:pt idx="2">
                    <c:v>Total</c:v>
                  </c:pt>
                  <c:pt idx="3">
                    <c:v>Banana Boat</c:v>
                  </c:pt>
                  <c:pt idx="4">
                    <c:v>Total</c:v>
                  </c:pt>
                  <c:pt idx="5">
                    <c:v>Banana Boat</c:v>
                  </c:pt>
                </c:lvl>
                <c:lvl>
                  <c:pt idx="0">
                    <c:v>Sunscreen</c:v>
                  </c:pt>
                  <c:pt idx="2">
                    <c:v>Tanning</c:v>
                  </c:pt>
                  <c:pt idx="4">
                    <c:v>After Sun</c:v>
                  </c:pt>
                </c:lvl>
              </c:multiLvlStrCache>
            </c:multiLvlStrRef>
          </c:cat>
          <c:val>
            <c:numRef>
              <c:f>Sheet1!$D$2:$D$7</c:f>
              <c:numCache>
                <c:formatCode>General</c:formatCode>
                <c:ptCount val="6"/>
                <c:pt idx="0">
                  <c:v>1580.5577</c:v>
                </c:pt>
                <c:pt idx="1">
                  <c:v>1181.6784</c:v>
                </c:pt>
                <c:pt idx="2">
                  <c:v>1114.8275</c:v>
                </c:pt>
                <c:pt idx="3">
                  <c:v>949.6544</c:v>
                </c:pt>
                <c:pt idx="4">
                  <c:v>562.0821</c:v>
                </c:pt>
                <c:pt idx="5">
                  <c:v>433.252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c:v>
                  </c:pt>
                  <c:pt idx="2">
                    <c:v>Tanning</c:v>
                  </c:pt>
                  <c:pt idx="4">
                    <c:v>After Sun</c:v>
                  </c:pt>
                  <c:pt idx="6">
                    <c:v>Banded Pack</c:v>
                  </c:pt>
                </c:lvl>
              </c:multiLvlStrCache>
            </c:multiLvlStrRef>
          </c:cat>
          <c:val>
            <c:numRef>
              <c:f>Sheet1!$C$2:$C$9</c:f>
              <c:numCache>
                <c:formatCode>General</c:formatCode>
                <c:ptCount val="8"/>
                <c:pt idx="0">
                  <c:v>243.9</c:v>
                </c:pt>
                <c:pt idx="1">
                  <c:v>39.3</c:v>
                </c:pt>
                <c:pt idx="2">
                  <c:v>5.9</c:v>
                </c:pt>
                <c:pt idx="3">
                  <c:v>0.7</c:v>
                </c:pt>
                <c:pt idx="4">
                  <c:v>3.9</c:v>
                </c:pt>
                <c:pt idx="5">
                  <c:v>1.5</c:v>
                </c:pt>
                <c:pt idx="6">
                  <c:v>2.6</c:v>
                </c:pt>
                <c:pt idx="7">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98.77</a:t>
                    </a:r>
                  </a:p>
                </c:rich>
              </c:tx>
              <c:dLblPos val="t"/>
              <c:showLegendKey val="0"/>
              <c:showVal val="1"/>
              <c:showCatName val="0"/>
              <c:showSerName val="0"/>
              <c:showPercent val="0"/>
              <c:showBubbleSize val="0"/>
            </c:dLbl>
            <c:dLbl>
              <c:idx val="1"/>
              <c:tx>
                <c:rich>
                  <a:bodyPr/>
                  <a:lstStyle/>
                  <a:p>
                    <a:r>
                      <a:t>1264.47</a:t>
                    </a:r>
                  </a:p>
                </c:rich>
              </c:tx>
              <c:dLblPos val="t"/>
              <c:showLegendKey val="0"/>
              <c:showVal val="1"/>
              <c:showCatName val="0"/>
              <c:showSerName val="0"/>
              <c:showPercent val="0"/>
              <c:showBubbleSize val="0"/>
            </c:dLbl>
            <c:dLbl>
              <c:idx val="2"/>
              <c:tx>
                <c:rich>
                  <a:bodyPr/>
                  <a:lstStyle/>
                  <a:p>
                    <a:r>
                      <a:t>1094.98</a:t>
                    </a:r>
                  </a:p>
                </c:rich>
              </c:tx>
              <c:dLblPos val="t"/>
              <c:showLegendKey val="0"/>
              <c:showVal val="1"/>
              <c:showCatName val="0"/>
              <c:showSerName val="0"/>
              <c:showPercent val="0"/>
              <c:showBubbleSize val="0"/>
            </c:dLbl>
            <c:dLbl>
              <c:idx val="3"/>
              <c:tx>
                <c:rich>
                  <a:bodyPr/>
                  <a:lstStyle/>
                  <a:p>
                    <a:r>
                      <a:t>951.14</a:t>
                    </a:r>
                  </a:p>
                </c:rich>
              </c:tx>
              <c:dLblPos val="t"/>
              <c:showLegendKey val="0"/>
              <c:showVal val="1"/>
              <c:showCatName val="0"/>
              <c:showSerName val="0"/>
              <c:showPercent val="0"/>
              <c:showBubbleSize val="0"/>
            </c:dLbl>
            <c:dLbl>
              <c:idx val="4"/>
              <c:tx>
                <c:rich>
                  <a:bodyPr/>
                  <a:lstStyle/>
                  <a:p>
                    <a:r>
                      <a:t>558.19</a:t>
                    </a:r>
                  </a:p>
                </c:rich>
              </c:tx>
              <c:dLblPos val="t"/>
              <c:showLegendKey val="0"/>
              <c:showVal val="1"/>
              <c:showCatName val="0"/>
              <c:showSerName val="0"/>
              <c:showPercent val="0"/>
              <c:showBubbleSize val="0"/>
            </c:dLbl>
            <c:dLbl>
              <c:idx val="5"/>
              <c:tx>
                <c:rich>
                  <a:bodyPr/>
                  <a:lstStyle/>
                  <a:p>
                    <a:r>
                      <a:t>448.95</a:t>
                    </a:r>
                  </a:p>
                </c:rich>
              </c:tx>
              <c:dLblPos val="t"/>
              <c:showLegendKey val="0"/>
              <c:showVal val="1"/>
              <c:showCatName val="0"/>
              <c:showSerName val="0"/>
              <c:showPercent val="0"/>
              <c:showBubbleSize val="0"/>
            </c:dLbl>
            <c:dLbl>
              <c:idx val="6"/>
              <c:tx>
                <c:rich>
                  <a:bodyPr/>
                  <a:lstStyle/>
                  <a:p>
                    <a:r>
                      <a:t>6026.64</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c:v>
                  </c:pt>
                  <c:pt idx="2">
                    <c:v>Tanning</c:v>
                  </c:pt>
                  <c:pt idx="4">
                    <c:v>After Sun</c:v>
                  </c:pt>
                  <c:pt idx="6">
                    <c:v>Banded Pack</c:v>
                  </c:pt>
                </c:lvl>
              </c:multiLvlStrCache>
            </c:multiLvlStrRef>
          </c:cat>
          <c:val>
            <c:numRef>
              <c:f>Sheet1!$D$2:$D$9</c:f>
              <c:numCache>
                <c:formatCode>General</c:formatCode>
                <c:ptCount val="8"/>
                <c:pt idx="0">
                  <c:v>1598.7659</c:v>
                </c:pt>
                <c:pt idx="1">
                  <c:v>1264.4736</c:v>
                </c:pt>
                <c:pt idx="2">
                  <c:v>1094.9781</c:v>
                </c:pt>
                <c:pt idx="3">
                  <c:v>951.136</c:v>
                </c:pt>
                <c:pt idx="4">
                  <c:v>558.1863</c:v>
                </c:pt>
                <c:pt idx="5">
                  <c:v>448.9503</c:v>
                </c:pt>
                <c:pt idx="6">
                  <c:v>6026.6384</c:v>
                </c:pt>
                <c:pt idx="7">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anana Boat</c:v>
                  </c:pt>
                  <c:pt idx="2">
                    <c:v>Total</c:v>
                  </c:pt>
                  <c:pt idx="3">
                    <c:v>Banana Boat</c:v>
                  </c:pt>
                  <c:pt idx="4">
                    <c:v>Total</c:v>
                  </c:pt>
                  <c:pt idx="5">
                    <c:v>Banana Boat</c:v>
                  </c:pt>
                </c:lvl>
                <c:lvl>
                  <c:pt idx="0">
                    <c:v>Sunscreen</c:v>
                  </c:pt>
                  <c:pt idx="2">
                    <c:v>Tanning</c:v>
                  </c:pt>
                  <c:pt idx="4">
                    <c:v>After Sun</c:v>
                  </c:pt>
                </c:lvl>
              </c:multiLvlStrCache>
            </c:multiLvlStrRef>
          </c:cat>
          <c:val>
            <c:numRef>
              <c:f>Sheet1!$C$2:$C$7</c:f>
              <c:numCache>
                <c:formatCode>General</c:formatCode>
                <c:ptCount val="6"/>
                <c:pt idx="0">
                  <c:v>180.1</c:v>
                </c:pt>
                <c:pt idx="1">
                  <c:v>30.2</c:v>
                </c:pt>
                <c:pt idx="2">
                  <c:v>4.0</c:v>
                </c:pt>
                <c:pt idx="3">
                  <c:v>0.4</c:v>
                </c:pt>
                <c:pt idx="4">
                  <c:v>3.0</c:v>
                </c:pt>
                <c:pt idx="5">
                  <c:v>0.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73.0</a:t>
                    </a:r>
                  </a:p>
                </c:rich>
              </c:tx>
              <c:dLblPos val="t"/>
              <c:showLegendKey val="0"/>
              <c:showVal val="1"/>
              <c:showCatName val="0"/>
              <c:showSerName val="0"/>
              <c:showPercent val="0"/>
              <c:showBubbleSize val="0"/>
            </c:dLbl>
            <c:dLbl>
              <c:idx val="1"/>
              <c:tx>
                <c:rich>
                  <a:bodyPr/>
                  <a:lstStyle/>
                  <a:p>
                    <a:r>
                      <a:t>1304.02</a:t>
                    </a:r>
                  </a:p>
                </c:rich>
              </c:tx>
              <c:dLblPos val="t"/>
              <c:showLegendKey val="0"/>
              <c:showVal val="1"/>
              <c:showCatName val="0"/>
              <c:showSerName val="0"/>
              <c:showPercent val="0"/>
              <c:showBubbleSize val="0"/>
            </c:dLbl>
            <c:dLbl>
              <c:idx val="2"/>
              <c:tx>
                <c:rich>
                  <a:bodyPr/>
                  <a:lstStyle/>
                  <a:p>
                    <a:r>
                      <a:t>1142.43</a:t>
                    </a:r>
                  </a:p>
                </c:rich>
              </c:tx>
              <c:dLblPos val="t"/>
              <c:showLegendKey val="0"/>
              <c:showVal val="1"/>
              <c:showCatName val="0"/>
              <c:showSerName val="0"/>
              <c:showPercent val="0"/>
              <c:showBubbleSize val="0"/>
            </c:dLbl>
            <c:dLbl>
              <c:idx val="3"/>
              <c:tx>
                <c:rich>
                  <a:bodyPr/>
                  <a:lstStyle/>
                  <a:p>
                    <a:r>
                      <a:t>905.03</a:t>
                    </a:r>
                  </a:p>
                </c:rich>
              </c:tx>
              <c:dLblPos val="t"/>
              <c:showLegendKey val="0"/>
              <c:showVal val="1"/>
              <c:showCatName val="0"/>
              <c:showSerName val="0"/>
              <c:showPercent val="0"/>
              <c:showBubbleSize val="0"/>
            </c:dLbl>
            <c:dLbl>
              <c:idx val="4"/>
              <c:tx>
                <c:rich>
                  <a:bodyPr/>
                  <a:lstStyle/>
                  <a:p>
                    <a:r>
                      <a:t>580.67</a:t>
                    </a:r>
                  </a:p>
                </c:rich>
              </c:tx>
              <c:dLblPos val="t"/>
              <c:showLegendKey val="0"/>
              <c:showVal val="1"/>
              <c:showCatName val="0"/>
              <c:showSerName val="0"/>
              <c:showPercent val="0"/>
              <c:showBubbleSize val="0"/>
            </c:dLbl>
            <c:dLbl>
              <c:idx val="5"/>
              <c:tx>
                <c:rich>
                  <a:bodyPr/>
                  <a:lstStyle/>
                  <a:p>
                    <a:r>
                      <a:t>432.37</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anana Boat</c:v>
                  </c:pt>
                  <c:pt idx="2">
                    <c:v>Total</c:v>
                  </c:pt>
                  <c:pt idx="3">
                    <c:v>Banana Boat</c:v>
                  </c:pt>
                  <c:pt idx="4">
                    <c:v>Total</c:v>
                  </c:pt>
                  <c:pt idx="5">
                    <c:v>Banana Boat</c:v>
                  </c:pt>
                </c:lvl>
                <c:lvl>
                  <c:pt idx="0">
                    <c:v>Sunscreen</c:v>
                  </c:pt>
                  <c:pt idx="2">
                    <c:v>Tanning</c:v>
                  </c:pt>
                  <c:pt idx="4">
                    <c:v>After Sun</c:v>
                  </c:pt>
                </c:lvl>
              </c:multiLvlStrCache>
            </c:multiLvlStrRef>
          </c:cat>
          <c:val>
            <c:numRef>
              <c:f>Sheet1!$D$2:$D$7</c:f>
              <c:numCache>
                <c:formatCode>General</c:formatCode>
                <c:ptCount val="6"/>
                <c:pt idx="0">
                  <c:v>1573.0022</c:v>
                </c:pt>
                <c:pt idx="1">
                  <c:v>1304.0216</c:v>
                </c:pt>
                <c:pt idx="2">
                  <c:v>1142.4345</c:v>
                </c:pt>
                <c:pt idx="3">
                  <c:v>905.0306</c:v>
                </c:pt>
                <c:pt idx="4">
                  <c:v>580.6657</c:v>
                </c:pt>
                <c:pt idx="5">
                  <c:v>432.374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c:v>
                  </c:pt>
                  <c:pt idx="2">
                    <c:v>Tanning</c:v>
                  </c:pt>
                  <c:pt idx="4">
                    <c:v>After Sun</c:v>
                  </c:pt>
                  <c:pt idx="6">
                    <c:v>Banded Pack</c:v>
                  </c:pt>
                </c:lvl>
              </c:multiLvlStrCache>
            </c:multiLvlStrRef>
          </c:cat>
          <c:val>
            <c:numRef>
              <c:f>Sheet1!$C$2:$C$9</c:f>
              <c:numCache>
                <c:formatCode>General</c:formatCode>
                <c:ptCount val="8"/>
                <c:pt idx="0">
                  <c:v>1567.1</c:v>
                </c:pt>
                <c:pt idx="1">
                  <c:v>12.5</c:v>
                </c:pt>
                <c:pt idx="2">
                  <c:v>32.5</c:v>
                </c:pt>
                <c:pt idx="3">
                  <c:v>0.0</c:v>
                </c:pt>
                <c:pt idx="4">
                  <c:v>25.0</c:v>
                </c:pt>
                <c:pt idx="5">
                  <c:v>0.0</c:v>
                </c:pt>
                <c:pt idx="6">
                  <c:v>18.9</c:v>
                </c:pt>
                <c:pt idx="7">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19.42</a:t>
                    </a:r>
                  </a:p>
                </c:rich>
              </c:tx>
              <c:dLblPos val="t"/>
              <c:showLegendKey val="0"/>
              <c:showVal val="1"/>
              <c:showCatName val="0"/>
              <c:showSerName val="0"/>
              <c:showPercent val="0"/>
              <c:showBubbleSize val="0"/>
            </c:dLbl>
            <c:dLbl>
              <c:idx val="1"/>
              <c:tx>
                <c:rich>
                  <a:bodyPr/>
                  <a:lstStyle/>
                  <a:p>
                    <a:r>
                      <a:t>4025.53</a:t>
                    </a:r>
                  </a:p>
                </c:rich>
              </c:tx>
              <c:dLblPos val="t"/>
              <c:showLegendKey val="0"/>
              <c:showVal val="1"/>
              <c:showCatName val="0"/>
              <c:showSerName val="0"/>
              <c:showPercent val="0"/>
              <c:showBubbleSize val="0"/>
            </c:dLbl>
            <c:dLbl>
              <c:idx val="2"/>
              <c:tx>
                <c:rich>
                  <a:bodyPr/>
                  <a:lstStyle/>
                  <a:p>
                    <a:r>
                      <a:t>1116.29</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577.77</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4966.24</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c:v>
                  </c:pt>
                  <c:pt idx="2">
                    <c:v>Tanning</c:v>
                  </c:pt>
                  <c:pt idx="4">
                    <c:v>After Sun</c:v>
                  </c:pt>
                  <c:pt idx="6">
                    <c:v>Banded Pack</c:v>
                  </c:pt>
                </c:lvl>
              </c:multiLvlStrCache>
            </c:multiLvlStrRef>
          </c:cat>
          <c:val>
            <c:numRef>
              <c:f>Sheet1!$D$2:$D$9</c:f>
              <c:numCache>
                <c:formatCode>General</c:formatCode>
                <c:ptCount val="8"/>
                <c:pt idx="0">
                  <c:v>1619.4179</c:v>
                </c:pt>
                <c:pt idx="1">
                  <c:v>4025.5318</c:v>
                </c:pt>
                <c:pt idx="2">
                  <c:v>1116.2927</c:v>
                </c:pt>
                <c:pt idx="3">
                  <c:v>0.0</c:v>
                </c:pt>
                <c:pt idx="4">
                  <c:v>577.7724</c:v>
                </c:pt>
                <c:pt idx="5">
                  <c:v>0.0</c:v>
                </c:pt>
                <c:pt idx="6">
                  <c:v>4966.239</c:v>
                </c:pt>
                <c:pt idx="7">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eauty Care</c:v>
                  </c:pt>
                  <c:pt idx="2">
                    <c:v>Total</c:v>
                  </c:pt>
                  <c:pt idx="3">
                    <c:v>Beauty Care</c:v>
                  </c:pt>
                  <c:pt idx="4">
                    <c:v>Total</c:v>
                  </c:pt>
                  <c:pt idx="5">
                    <c:v>Beauty Care</c:v>
                  </c:pt>
                </c:lvl>
                <c:lvl>
                  <c:pt idx="0">
                    <c:v>Sunscreen</c:v>
                  </c:pt>
                  <c:pt idx="2">
                    <c:v>Tanning</c:v>
                  </c:pt>
                  <c:pt idx="4">
                    <c:v>After Sun</c:v>
                  </c:pt>
                </c:lvl>
              </c:multiLvlStrCache>
            </c:multiLvlStrRef>
          </c:cat>
          <c:val>
            <c:numRef>
              <c:f>Sheet1!$C$2:$C$7</c:f>
              <c:numCache>
                <c:formatCode>General</c:formatCode>
                <c:ptCount val="6"/>
                <c:pt idx="0">
                  <c:v>338.2</c:v>
                </c:pt>
                <c:pt idx="1">
                  <c:v>3.0</c:v>
                </c:pt>
                <c:pt idx="2">
                  <c:v>5.9</c:v>
                </c:pt>
                <c:pt idx="3">
                  <c:v>0.0</c:v>
                </c:pt>
                <c:pt idx="4">
                  <c:v>4.5</c:v>
                </c:pt>
                <c:pt idx="5">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48.45</a:t>
                    </a:r>
                  </a:p>
                </c:rich>
              </c:tx>
              <c:dLblPos val="t"/>
              <c:showLegendKey val="0"/>
              <c:showVal val="1"/>
              <c:showCatName val="0"/>
              <c:showSerName val="0"/>
              <c:showPercent val="0"/>
              <c:showBubbleSize val="0"/>
            </c:dLbl>
            <c:dLbl>
              <c:idx val="1"/>
              <c:tx>
                <c:rich>
                  <a:bodyPr/>
                  <a:lstStyle/>
                  <a:p>
                    <a:r>
                      <a:t>4341.9</a:t>
                    </a:r>
                  </a:p>
                </c:rich>
              </c:tx>
              <c:dLblPos val="t"/>
              <c:showLegendKey val="0"/>
              <c:showVal val="1"/>
              <c:showCatName val="0"/>
              <c:showSerName val="0"/>
              <c:showPercent val="0"/>
              <c:showBubbleSize val="0"/>
            </c:dLbl>
            <c:dLbl>
              <c:idx val="2"/>
              <c:tx>
                <c:rich>
                  <a:bodyPr/>
                  <a:lstStyle/>
                  <a:p>
                    <a:r>
                      <a:t>1077.75</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545.78</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eauty Care</c:v>
                  </c:pt>
                  <c:pt idx="2">
                    <c:v>Total</c:v>
                  </c:pt>
                  <c:pt idx="3">
                    <c:v>Beauty Care</c:v>
                  </c:pt>
                  <c:pt idx="4">
                    <c:v>Total</c:v>
                  </c:pt>
                  <c:pt idx="5">
                    <c:v>Beauty Care</c:v>
                  </c:pt>
                </c:lvl>
                <c:lvl>
                  <c:pt idx="0">
                    <c:v>Sunscreen</c:v>
                  </c:pt>
                  <c:pt idx="2">
                    <c:v>Tanning</c:v>
                  </c:pt>
                  <c:pt idx="4">
                    <c:v>After Sun</c:v>
                  </c:pt>
                </c:lvl>
              </c:multiLvlStrCache>
            </c:multiLvlStrRef>
          </c:cat>
          <c:val>
            <c:numRef>
              <c:f>Sheet1!$D$2:$D$7</c:f>
              <c:numCache>
                <c:formatCode>General</c:formatCode>
                <c:ptCount val="6"/>
                <c:pt idx="0">
                  <c:v>1648.4515</c:v>
                </c:pt>
                <c:pt idx="1">
                  <c:v>4341.905</c:v>
                </c:pt>
                <c:pt idx="2">
                  <c:v>1077.7548</c:v>
                </c:pt>
                <c:pt idx="3">
                  <c:v>0.0</c:v>
                </c:pt>
                <c:pt idx="4">
                  <c:v>545.7791</c:v>
                </c:pt>
                <c:pt idx="5">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eauty Care</c:v>
                  </c:pt>
                  <c:pt idx="2">
                    <c:v>Total</c:v>
                  </c:pt>
                  <c:pt idx="3">
                    <c:v>Beauty Care</c:v>
                  </c:pt>
                  <c:pt idx="4">
                    <c:v>Total</c:v>
                  </c:pt>
                  <c:pt idx="5">
                    <c:v>Beauty Care</c:v>
                  </c:pt>
                </c:lvl>
                <c:lvl>
                  <c:pt idx="0">
                    <c:v>Sunscreen</c:v>
                  </c:pt>
                  <c:pt idx="2">
                    <c:v>Banded Pack</c:v>
                  </c:pt>
                  <c:pt idx="4">
                    <c:v>Tanning</c:v>
                  </c:pt>
                </c:lvl>
              </c:multiLvlStrCache>
            </c:multiLvlStrRef>
          </c:cat>
          <c:val>
            <c:numRef>
              <c:f>Sheet1!$C$2:$C$7</c:f>
              <c:numCache>
                <c:formatCode>General</c:formatCode>
                <c:ptCount val="6"/>
                <c:pt idx="0">
                  <c:v>292.8</c:v>
                </c:pt>
                <c:pt idx="1">
                  <c:v>1.9</c:v>
                </c:pt>
                <c:pt idx="2">
                  <c:v>11.8</c:v>
                </c:pt>
                <c:pt idx="3">
                  <c:v>0.0</c:v>
                </c:pt>
                <c:pt idx="4">
                  <c:v>3.1</c:v>
                </c:pt>
                <c:pt idx="5">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980.32</a:t>
                    </a:r>
                  </a:p>
                </c:rich>
              </c:tx>
              <c:dLblPos val="t"/>
              <c:showLegendKey val="0"/>
              <c:showVal val="1"/>
              <c:showCatName val="0"/>
              <c:showSerName val="0"/>
              <c:showPercent val="0"/>
              <c:showBubbleSize val="0"/>
            </c:dLbl>
            <c:dLbl>
              <c:idx val="1"/>
              <c:tx>
                <c:rich>
                  <a:bodyPr/>
                  <a:lstStyle/>
                  <a:p>
                    <a:r>
                      <a:t>4279.46</a:t>
                    </a:r>
                  </a:p>
                </c:rich>
              </c:tx>
              <c:dLblPos val="t"/>
              <c:showLegendKey val="0"/>
              <c:showVal val="1"/>
              <c:showCatName val="0"/>
              <c:showSerName val="0"/>
              <c:showPercent val="0"/>
              <c:showBubbleSize val="0"/>
            </c:dLbl>
            <c:dLbl>
              <c:idx val="2"/>
              <c:tx>
                <c:rich>
                  <a:bodyPr/>
                  <a:lstStyle/>
                  <a:p>
                    <a:r>
                      <a:t>5368.71</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1055.42</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eauty Care</c:v>
                  </c:pt>
                  <c:pt idx="2">
                    <c:v>Total</c:v>
                  </c:pt>
                  <c:pt idx="3">
                    <c:v>Beauty Care</c:v>
                  </c:pt>
                  <c:pt idx="4">
                    <c:v>Total</c:v>
                  </c:pt>
                  <c:pt idx="5">
                    <c:v>Beauty Care</c:v>
                  </c:pt>
                </c:lvl>
                <c:lvl>
                  <c:pt idx="0">
                    <c:v>Sunscreen</c:v>
                  </c:pt>
                  <c:pt idx="2">
                    <c:v>Banded Pack</c:v>
                  </c:pt>
                  <c:pt idx="4">
                    <c:v>Tanning</c:v>
                  </c:pt>
                </c:lvl>
              </c:multiLvlStrCache>
            </c:multiLvlStrRef>
          </c:cat>
          <c:val>
            <c:numRef>
              <c:f>Sheet1!$D$2:$D$7</c:f>
              <c:numCache>
                <c:formatCode>General</c:formatCode>
                <c:ptCount val="6"/>
                <c:pt idx="0">
                  <c:v>1980.3182</c:v>
                </c:pt>
                <c:pt idx="1">
                  <c:v>4279.4598</c:v>
                </c:pt>
                <c:pt idx="2">
                  <c:v>5368.7125</c:v>
                </c:pt>
                <c:pt idx="3">
                  <c:v>0.0</c:v>
                </c:pt>
                <c:pt idx="4">
                  <c:v>1055.4155</c:v>
                </c:pt>
                <c:pt idx="5">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eauty Care</c:v>
                  </c:pt>
                  <c:pt idx="2">
                    <c:v>Total</c:v>
                  </c:pt>
                  <c:pt idx="3">
                    <c:v>Beauty Care</c:v>
                  </c:pt>
                  <c:pt idx="4">
                    <c:v>Total</c:v>
                  </c:pt>
                  <c:pt idx="5">
                    <c:v>Beauty Care</c:v>
                  </c:pt>
                </c:lvl>
                <c:lvl>
                  <c:pt idx="0">
                    <c:v>Sunscreen</c:v>
                  </c:pt>
                  <c:pt idx="2">
                    <c:v>Tanning</c:v>
                  </c:pt>
                  <c:pt idx="4">
                    <c:v>After Sun</c:v>
                  </c:pt>
                </c:lvl>
              </c:multiLvlStrCache>
            </c:multiLvlStrRef>
          </c:cat>
          <c:val>
            <c:numRef>
              <c:f>Sheet1!$C$2:$C$7</c:f>
              <c:numCache>
                <c:formatCode>General</c:formatCode>
                <c:ptCount val="6"/>
                <c:pt idx="0">
                  <c:v>256.9</c:v>
                </c:pt>
                <c:pt idx="1">
                  <c:v>2.2</c:v>
                </c:pt>
                <c:pt idx="2">
                  <c:v>8.3</c:v>
                </c:pt>
                <c:pt idx="3">
                  <c:v>0.0</c:v>
                </c:pt>
                <c:pt idx="4">
                  <c:v>8.2</c:v>
                </c:pt>
                <c:pt idx="5">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79.99</a:t>
                    </a:r>
                  </a:p>
                </c:rich>
              </c:tx>
              <c:dLblPos val="t"/>
              <c:showLegendKey val="0"/>
              <c:showVal val="1"/>
              <c:showCatName val="0"/>
              <c:showSerName val="0"/>
              <c:showPercent val="0"/>
              <c:showBubbleSize val="0"/>
            </c:dLbl>
            <c:dLbl>
              <c:idx val="1"/>
              <c:tx>
                <c:rich>
                  <a:bodyPr/>
                  <a:lstStyle/>
                  <a:p>
                    <a:r>
                      <a:t>3103.44</a:t>
                    </a:r>
                  </a:p>
                </c:rich>
              </c:tx>
              <c:dLblPos val="t"/>
              <c:showLegendKey val="0"/>
              <c:showVal val="1"/>
              <c:showCatName val="0"/>
              <c:showSerName val="0"/>
              <c:showPercent val="0"/>
              <c:showBubbleSize val="0"/>
            </c:dLbl>
            <c:dLbl>
              <c:idx val="2"/>
              <c:tx>
                <c:rich>
                  <a:bodyPr/>
                  <a:lstStyle/>
                  <a:p>
                    <a:r>
                      <a:t>1175.47</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631.64</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eauty Care</c:v>
                  </c:pt>
                  <c:pt idx="2">
                    <c:v>Total</c:v>
                  </c:pt>
                  <c:pt idx="3">
                    <c:v>Beauty Care</c:v>
                  </c:pt>
                  <c:pt idx="4">
                    <c:v>Total</c:v>
                  </c:pt>
                  <c:pt idx="5">
                    <c:v>Beauty Care</c:v>
                  </c:pt>
                </c:lvl>
                <c:lvl>
                  <c:pt idx="0">
                    <c:v>Sunscreen</c:v>
                  </c:pt>
                  <c:pt idx="2">
                    <c:v>Tanning</c:v>
                  </c:pt>
                  <c:pt idx="4">
                    <c:v>After Sun</c:v>
                  </c:pt>
                </c:lvl>
              </c:multiLvlStrCache>
            </c:multiLvlStrRef>
          </c:cat>
          <c:val>
            <c:numRef>
              <c:f>Sheet1!$D$2:$D$7</c:f>
              <c:numCache>
                <c:formatCode>General</c:formatCode>
                <c:ptCount val="6"/>
                <c:pt idx="0">
                  <c:v>1379.9932</c:v>
                </c:pt>
                <c:pt idx="1">
                  <c:v>3103.4389</c:v>
                </c:pt>
                <c:pt idx="2">
                  <c:v>1175.4741</c:v>
                </c:pt>
                <c:pt idx="3">
                  <c:v>0.0</c:v>
                </c:pt>
                <c:pt idx="4">
                  <c:v>631.6371</c:v>
                </c:pt>
                <c:pt idx="5">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eauty Care</c:v>
                  </c:pt>
                  <c:pt idx="2">
                    <c:v>Total</c:v>
                  </c:pt>
                  <c:pt idx="3">
                    <c:v>Beauty Care</c:v>
                  </c:pt>
                  <c:pt idx="4">
                    <c:v>Total</c:v>
                  </c:pt>
                  <c:pt idx="5">
                    <c:v>Beauty Care</c:v>
                  </c:pt>
                </c:lvl>
                <c:lvl>
                  <c:pt idx="0">
                    <c:v>Sunscreen</c:v>
                  </c:pt>
                  <c:pt idx="2">
                    <c:v>Tanning</c:v>
                  </c:pt>
                  <c:pt idx="4">
                    <c:v>After Sun</c:v>
                  </c:pt>
                </c:lvl>
              </c:multiLvlStrCache>
            </c:multiLvlStrRef>
          </c:cat>
          <c:val>
            <c:numRef>
              <c:f>Sheet1!$C$2:$C$7</c:f>
              <c:numCache>
                <c:formatCode>General</c:formatCode>
                <c:ptCount val="6"/>
                <c:pt idx="0">
                  <c:v>255.4</c:v>
                </c:pt>
                <c:pt idx="1">
                  <c:v>1.8</c:v>
                </c:pt>
                <c:pt idx="2">
                  <c:v>5.3</c:v>
                </c:pt>
                <c:pt idx="3">
                  <c:v>0.0</c:v>
                </c:pt>
                <c:pt idx="4">
                  <c:v>3.3</c:v>
                </c:pt>
                <c:pt idx="5">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80.56</a:t>
                    </a:r>
                  </a:p>
                </c:rich>
              </c:tx>
              <c:dLblPos val="t"/>
              <c:showLegendKey val="0"/>
              <c:showVal val="1"/>
              <c:showCatName val="0"/>
              <c:showSerName val="0"/>
              <c:showPercent val="0"/>
              <c:showBubbleSize val="0"/>
            </c:dLbl>
            <c:dLbl>
              <c:idx val="1"/>
              <c:tx>
                <c:rich>
                  <a:bodyPr/>
                  <a:lstStyle/>
                  <a:p>
                    <a:r>
                      <a:t>4233.14</a:t>
                    </a:r>
                  </a:p>
                </c:rich>
              </c:tx>
              <c:dLblPos val="t"/>
              <c:showLegendKey val="0"/>
              <c:showVal val="1"/>
              <c:showCatName val="0"/>
              <c:showSerName val="0"/>
              <c:showPercent val="0"/>
              <c:showBubbleSize val="0"/>
            </c:dLbl>
            <c:dLbl>
              <c:idx val="2"/>
              <c:tx>
                <c:rich>
                  <a:bodyPr/>
                  <a:lstStyle/>
                  <a:p>
                    <a:r>
                      <a:t>1114.83</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562.08</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eauty Care</c:v>
                  </c:pt>
                  <c:pt idx="2">
                    <c:v>Total</c:v>
                  </c:pt>
                  <c:pt idx="3">
                    <c:v>Beauty Care</c:v>
                  </c:pt>
                  <c:pt idx="4">
                    <c:v>Total</c:v>
                  </c:pt>
                  <c:pt idx="5">
                    <c:v>Beauty Care</c:v>
                  </c:pt>
                </c:lvl>
                <c:lvl>
                  <c:pt idx="0">
                    <c:v>Sunscreen</c:v>
                  </c:pt>
                  <c:pt idx="2">
                    <c:v>Tanning</c:v>
                  </c:pt>
                  <c:pt idx="4">
                    <c:v>After Sun</c:v>
                  </c:pt>
                </c:lvl>
              </c:multiLvlStrCache>
            </c:multiLvlStrRef>
          </c:cat>
          <c:val>
            <c:numRef>
              <c:f>Sheet1!$D$2:$D$7</c:f>
              <c:numCache>
                <c:formatCode>General</c:formatCode>
                <c:ptCount val="6"/>
                <c:pt idx="0">
                  <c:v>1580.5577</c:v>
                </c:pt>
                <c:pt idx="1">
                  <c:v>4233.1399</c:v>
                </c:pt>
                <c:pt idx="2">
                  <c:v>1114.8275</c:v>
                </c:pt>
                <c:pt idx="3">
                  <c:v>0.0</c:v>
                </c:pt>
                <c:pt idx="4">
                  <c:v>562.0821</c:v>
                </c:pt>
                <c:pt idx="5">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FCB98488-D229-4749-9647-D884877169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FB3BD7BE-86FC-4C31-ADBB-4C62FBC01F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D998BF46-B082-44A9-9AA1-EC623C66D6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BC0B40E0-EB37-4AA0-B79F-A10641A64C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8BAB044D-E248-415D-9C08-67524A68B8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0B7B29E4-50D2-4FCB-A44A-A114E4C592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3ABCE93A-2644-4BAE-BD63-33E27F9188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6B3DB563-C895-4833-95DD-4842757C83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6.9843</c:v>
                </c:pt>
                <c:pt idx="1">
                  <c:v>235.8278</c:v>
                </c:pt>
                <c:pt idx="2">
                  <c:v>73.1552</c:v>
                </c:pt>
                <c:pt idx="3">
                  <c:v>74.0953</c:v>
                </c:pt>
                <c:pt idx="4">
                  <c:v>632.3971</c:v>
                </c:pt>
                <c:pt idx="5">
                  <c:v>565.0825</c:v>
                </c:pt>
                <c:pt idx="6">
                  <c:v>558.3299</c:v>
                </c:pt>
                <c:pt idx="7">
                  <c:v>148.3627</c:v>
                </c:pt>
              </c:numCache>
            </c:numRef>
          </c:xVal>
          <c:yVal>
            <c:numRef>
              <c:f>Sheet1!$B$2:$B$9</c:f>
              <c:numCache>
                <c:formatCode>General</c:formatCode>
                <c:ptCount val="8"/>
                <c:pt idx="0">
                  <c:v>1.256</c:v>
                </c:pt>
                <c:pt idx="1">
                  <c:v>1.01</c:v>
                </c:pt>
                <c:pt idx="2">
                  <c:v>0.497</c:v>
                </c:pt>
                <c:pt idx="3">
                  <c:v>0.531</c:v>
                </c:pt>
                <c:pt idx="4">
                  <c:v>3.474</c:v>
                </c:pt>
                <c:pt idx="5">
                  <c:v>2.331</c:v>
                </c:pt>
                <c:pt idx="6">
                  <c:v>2.461</c:v>
                </c:pt>
                <c:pt idx="7">
                  <c:v>0.616</c:v>
                </c:pt>
              </c:numCache>
            </c:numRef>
          </c:yVal>
          <c:bubbleSize>
            <c:numRef>
              <c:f>Sheet1!$C$2:$C$9</c:f>
              <c:numCache>
                <c:formatCode>General</c:formatCode>
                <c:ptCount val="8"/>
                <c:pt idx="0">
                  <c:v>8296738</c:v>
                </c:pt>
                <c:pt idx="1">
                  <c:v>6267125</c:v>
                </c:pt>
                <c:pt idx="2">
                  <c:v>1956024</c:v>
                </c:pt>
                <c:pt idx="3">
                  <c:v>793783</c:v>
                </c:pt>
                <c:pt idx="4">
                  <c:v>694372</c:v>
                </c:pt>
                <c:pt idx="5">
                  <c:v>534003</c:v>
                </c:pt>
                <c:pt idx="6">
                  <c:v>431589</c:v>
                </c:pt>
                <c:pt idx="7">
                  <c:v>3026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59.0"/>
          <c:min val="59.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c:v>
                  </c:pt>
                  <c:pt idx="2">
                    <c:v>Tanning</c:v>
                  </c:pt>
                  <c:pt idx="4">
                    <c:v>After Sun</c:v>
                  </c:pt>
                  <c:pt idx="6">
                    <c:v>Banded Pack</c:v>
                  </c:pt>
                </c:lvl>
              </c:multiLvlStrCache>
            </c:multiLvlStrRef>
          </c:cat>
          <c:val>
            <c:numRef>
              <c:f>Sheet1!$C$2:$C$9</c:f>
              <c:numCache>
                <c:formatCode>General</c:formatCode>
                <c:ptCount val="8"/>
                <c:pt idx="0">
                  <c:v>243.9</c:v>
                </c:pt>
                <c:pt idx="1">
                  <c:v>2.0</c:v>
                </c:pt>
                <c:pt idx="2">
                  <c:v>5.9</c:v>
                </c:pt>
                <c:pt idx="3">
                  <c:v>0.0</c:v>
                </c:pt>
                <c:pt idx="4">
                  <c:v>3.9</c:v>
                </c:pt>
                <c:pt idx="5">
                  <c:v>0.0</c:v>
                </c:pt>
                <c:pt idx="6">
                  <c:v>2.6</c:v>
                </c:pt>
                <c:pt idx="7">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98.77</a:t>
                    </a:r>
                  </a:p>
                </c:rich>
              </c:tx>
              <c:dLblPos val="t"/>
              <c:showLegendKey val="0"/>
              <c:showVal val="1"/>
              <c:showCatName val="0"/>
              <c:showSerName val="0"/>
              <c:showPercent val="0"/>
              <c:showBubbleSize val="0"/>
            </c:dLbl>
            <c:dLbl>
              <c:idx val="1"/>
              <c:tx>
                <c:rich>
                  <a:bodyPr/>
                  <a:lstStyle/>
                  <a:p>
                    <a:r>
                      <a:t>4326.95</a:t>
                    </a:r>
                  </a:p>
                </c:rich>
              </c:tx>
              <c:dLblPos val="t"/>
              <c:showLegendKey val="0"/>
              <c:showVal val="1"/>
              <c:showCatName val="0"/>
              <c:showSerName val="0"/>
              <c:showPercent val="0"/>
              <c:showBubbleSize val="0"/>
            </c:dLbl>
            <c:dLbl>
              <c:idx val="2"/>
              <c:tx>
                <c:rich>
                  <a:bodyPr/>
                  <a:lstStyle/>
                  <a:p>
                    <a:r>
                      <a:t>1094.98</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558.19</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6026.64</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c:v>
                  </c:pt>
                  <c:pt idx="2">
                    <c:v>Tanning</c:v>
                  </c:pt>
                  <c:pt idx="4">
                    <c:v>After Sun</c:v>
                  </c:pt>
                  <c:pt idx="6">
                    <c:v>Banded Pack</c:v>
                  </c:pt>
                </c:lvl>
              </c:multiLvlStrCache>
            </c:multiLvlStrRef>
          </c:cat>
          <c:val>
            <c:numRef>
              <c:f>Sheet1!$D$2:$D$9</c:f>
              <c:numCache>
                <c:formatCode>General</c:formatCode>
                <c:ptCount val="8"/>
                <c:pt idx="0">
                  <c:v>1598.7659</c:v>
                </c:pt>
                <c:pt idx="1">
                  <c:v>4326.949</c:v>
                </c:pt>
                <c:pt idx="2">
                  <c:v>1094.9781</c:v>
                </c:pt>
                <c:pt idx="3">
                  <c:v>0.0</c:v>
                </c:pt>
                <c:pt idx="4">
                  <c:v>558.1863</c:v>
                </c:pt>
                <c:pt idx="5">
                  <c:v>0.0</c:v>
                </c:pt>
                <c:pt idx="6">
                  <c:v>6026.6384</c:v>
                </c:pt>
                <c:pt idx="7">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eauty Care</c:v>
                  </c:pt>
                  <c:pt idx="2">
                    <c:v>Total</c:v>
                  </c:pt>
                  <c:pt idx="3">
                    <c:v>Beauty Care</c:v>
                  </c:pt>
                  <c:pt idx="4">
                    <c:v>Total</c:v>
                  </c:pt>
                  <c:pt idx="5">
                    <c:v>Beauty Care</c:v>
                  </c:pt>
                </c:lvl>
                <c:lvl>
                  <c:pt idx="0">
                    <c:v>Sunscreen</c:v>
                  </c:pt>
                  <c:pt idx="2">
                    <c:v>Tanning</c:v>
                  </c:pt>
                  <c:pt idx="4">
                    <c:v>After Sun</c:v>
                  </c:pt>
                </c:lvl>
              </c:multiLvlStrCache>
            </c:multiLvlStrRef>
          </c:cat>
          <c:val>
            <c:numRef>
              <c:f>Sheet1!$C$2:$C$7</c:f>
              <c:numCache>
                <c:formatCode>General</c:formatCode>
                <c:ptCount val="6"/>
                <c:pt idx="0">
                  <c:v>180.1</c:v>
                </c:pt>
                <c:pt idx="1">
                  <c:v>1.5</c:v>
                </c:pt>
                <c:pt idx="2">
                  <c:v>4.0</c:v>
                </c:pt>
                <c:pt idx="3">
                  <c:v>0.0</c:v>
                </c:pt>
                <c:pt idx="4">
                  <c:v>3.0</c:v>
                </c:pt>
                <c:pt idx="5">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73.0</a:t>
                    </a:r>
                  </a:p>
                </c:rich>
              </c:tx>
              <c:dLblPos val="t"/>
              <c:showLegendKey val="0"/>
              <c:showVal val="1"/>
              <c:showCatName val="0"/>
              <c:showSerName val="0"/>
              <c:showPercent val="0"/>
              <c:showBubbleSize val="0"/>
            </c:dLbl>
            <c:dLbl>
              <c:idx val="1"/>
              <c:tx>
                <c:rich>
                  <a:bodyPr/>
                  <a:lstStyle/>
                  <a:p>
                    <a:r>
                      <a:t>4326.43</a:t>
                    </a:r>
                  </a:p>
                </c:rich>
              </c:tx>
              <c:dLblPos val="t"/>
              <c:showLegendKey val="0"/>
              <c:showVal val="1"/>
              <c:showCatName val="0"/>
              <c:showSerName val="0"/>
              <c:showPercent val="0"/>
              <c:showBubbleSize val="0"/>
            </c:dLbl>
            <c:dLbl>
              <c:idx val="2"/>
              <c:tx>
                <c:rich>
                  <a:bodyPr/>
                  <a:lstStyle/>
                  <a:p>
                    <a:r>
                      <a:t>1142.43</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580.67</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Beauty Care</c:v>
                  </c:pt>
                  <c:pt idx="2">
                    <c:v>Total</c:v>
                  </c:pt>
                  <c:pt idx="3">
                    <c:v>Beauty Care</c:v>
                  </c:pt>
                  <c:pt idx="4">
                    <c:v>Total</c:v>
                  </c:pt>
                  <c:pt idx="5">
                    <c:v>Beauty Care</c:v>
                  </c:pt>
                </c:lvl>
                <c:lvl>
                  <c:pt idx="0">
                    <c:v>Sunscreen</c:v>
                  </c:pt>
                  <c:pt idx="2">
                    <c:v>Tanning</c:v>
                  </c:pt>
                  <c:pt idx="4">
                    <c:v>After Sun</c:v>
                  </c:pt>
                </c:lvl>
              </c:multiLvlStrCache>
            </c:multiLvlStrRef>
          </c:cat>
          <c:val>
            <c:numRef>
              <c:f>Sheet1!$D$2:$D$7</c:f>
              <c:numCache>
                <c:formatCode>General</c:formatCode>
                <c:ptCount val="6"/>
                <c:pt idx="0">
                  <c:v>1573.0022</c:v>
                </c:pt>
                <c:pt idx="1">
                  <c:v>4326.4348</c:v>
                </c:pt>
                <c:pt idx="2">
                  <c:v>1142.4345</c:v>
                </c:pt>
                <c:pt idx="3">
                  <c:v>0.0</c:v>
                </c:pt>
                <c:pt idx="4">
                  <c:v>580.6657</c:v>
                </c:pt>
                <c:pt idx="5">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1419.7</c:v>
                </c:pt>
                <c:pt idx="1">
                  <c:v>245.7</c:v>
                </c:pt>
                <c:pt idx="2">
                  <c:v>139.7</c:v>
                </c:pt>
                <c:pt idx="3">
                  <c:v>0.5</c:v>
                </c:pt>
                <c:pt idx="4">
                  <c:v>32.5</c:v>
                </c:pt>
                <c:pt idx="5">
                  <c:v>13.3</c:v>
                </c:pt>
                <c:pt idx="6">
                  <c:v>24.9</c:v>
                </c:pt>
                <c:pt idx="7">
                  <c:v>9.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88.72</a:t>
                    </a:r>
                  </a:p>
                </c:rich>
              </c:tx>
              <c:dLblPos val="t"/>
              <c:showLegendKey val="0"/>
              <c:showVal val="1"/>
              <c:showCatName val="0"/>
              <c:showSerName val="0"/>
              <c:showPercent val="0"/>
              <c:showBubbleSize val="0"/>
            </c:dLbl>
            <c:dLbl>
              <c:idx val="1"/>
              <c:tx>
                <c:rich>
                  <a:bodyPr/>
                  <a:lstStyle/>
                  <a:p>
                    <a:r>
                      <a:t>1214.04</a:t>
                    </a:r>
                  </a:p>
                </c:rich>
              </c:tx>
              <c:dLblPos val="t"/>
              <c:showLegendKey val="0"/>
              <c:showVal val="1"/>
              <c:showCatName val="0"/>
              <c:showSerName val="0"/>
              <c:showPercent val="0"/>
              <c:showBubbleSize val="0"/>
            </c:dLbl>
            <c:dLbl>
              <c:idx val="2"/>
              <c:tx>
                <c:rich>
                  <a:bodyPr/>
                  <a:lstStyle/>
                  <a:p>
                    <a:r>
                      <a:t>1129.52</a:t>
                    </a:r>
                  </a:p>
                </c:rich>
              </c:tx>
              <c:dLblPos val="t"/>
              <c:showLegendKey val="0"/>
              <c:showVal val="1"/>
              <c:showCatName val="0"/>
              <c:showSerName val="0"/>
              <c:showPercent val="0"/>
              <c:showBubbleSize val="0"/>
            </c:dLbl>
            <c:dLbl>
              <c:idx val="3"/>
              <c:tx>
                <c:rich>
                  <a:bodyPr/>
                  <a:lstStyle/>
                  <a:p>
                    <a:r>
                      <a:t>589.35</a:t>
                    </a:r>
                  </a:p>
                </c:rich>
              </c:tx>
              <c:dLblPos val="t"/>
              <c:showLegendKey val="0"/>
              <c:showVal val="1"/>
              <c:showCatName val="0"/>
              <c:showSerName val="0"/>
              <c:showPercent val="0"/>
              <c:showBubbleSize val="0"/>
            </c:dLbl>
            <c:dLbl>
              <c:idx val="4"/>
              <c:tx>
                <c:rich>
                  <a:bodyPr/>
                  <a:lstStyle/>
                  <a:p>
                    <a:r>
                      <a:t>1116.29</a:t>
                    </a:r>
                  </a:p>
                </c:rich>
              </c:tx>
              <c:dLblPos val="t"/>
              <c:showLegendKey val="0"/>
              <c:showVal val="1"/>
              <c:showCatName val="0"/>
              <c:showSerName val="0"/>
              <c:showPercent val="0"/>
              <c:showBubbleSize val="0"/>
            </c:dLbl>
            <c:dLbl>
              <c:idx val="5"/>
              <c:tx>
                <c:rich>
                  <a:bodyPr/>
                  <a:lstStyle/>
                  <a:p>
                    <a:r>
                      <a:t>1122.92</a:t>
                    </a:r>
                  </a:p>
                </c:rich>
              </c:tx>
              <c:dLblPos val="t"/>
              <c:showLegendKey val="0"/>
              <c:showVal val="1"/>
              <c:showCatName val="0"/>
              <c:showSerName val="0"/>
              <c:showPercent val="0"/>
              <c:showBubbleSize val="0"/>
            </c:dLbl>
            <c:dLbl>
              <c:idx val="6"/>
              <c:tx>
                <c:rich>
                  <a:bodyPr/>
                  <a:lstStyle/>
                  <a:p>
                    <a:r>
                      <a:t>576.52</a:t>
                    </a:r>
                  </a:p>
                </c:rich>
              </c:tx>
              <c:dLblPos val="t"/>
              <c:showLegendKey val="0"/>
              <c:showVal val="1"/>
              <c:showCatName val="0"/>
              <c:showSerName val="0"/>
              <c:showPercent val="0"/>
              <c:showBubbleSize val="0"/>
            </c:dLbl>
            <c:dLbl>
              <c:idx val="7"/>
              <c:tx>
                <c:rich>
                  <a:bodyPr/>
                  <a:lstStyle/>
                  <a:p>
                    <a:r>
                      <a:t>675.82</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688.7191</c:v>
                </c:pt>
                <c:pt idx="1">
                  <c:v>1214.043</c:v>
                </c:pt>
                <c:pt idx="2">
                  <c:v>1129.5238</c:v>
                </c:pt>
                <c:pt idx="3">
                  <c:v>589.3522</c:v>
                </c:pt>
                <c:pt idx="4">
                  <c:v>1116.2927</c:v>
                </c:pt>
                <c:pt idx="5">
                  <c:v>1122.9222</c:v>
                </c:pt>
                <c:pt idx="6">
                  <c:v>576.5214</c:v>
                </c:pt>
                <c:pt idx="7">
                  <c:v>675.815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309.0</c:v>
                </c:pt>
                <c:pt idx="1">
                  <c:v>54.1</c:v>
                </c:pt>
                <c:pt idx="2">
                  <c:v>27.7</c:v>
                </c:pt>
                <c:pt idx="3">
                  <c:v>0.2</c:v>
                </c:pt>
                <c:pt idx="4">
                  <c:v>5.9</c:v>
                </c:pt>
                <c:pt idx="5">
                  <c:v>2.3</c:v>
                </c:pt>
                <c:pt idx="6">
                  <c:v>4.4</c:v>
                </c:pt>
                <c:pt idx="7">
                  <c:v>1.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720.68</a:t>
                    </a:r>
                  </a:p>
                </c:rich>
              </c:tx>
              <c:dLblPos val="t"/>
              <c:showLegendKey val="0"/>
              <c:showVal val="1"/>
              <c:showCatName val="0"/>
              <c:showSerName val="0"/>
              <c:showPercent val="0"/>
              <c:showBubbleSize val="0"/>
            </c:dLbl>
            <c:dLbl>
              <c:idx val="1"/>
              <c:tx>
                <c:rich>
                  <a:bodyPr/>
                  <a:lstStyle/>
                  <a:p>
                    <a:r>
                      <a:t>1221.07</a:t>
                    </a:r>
                  </a:p>
                </c:rich>
              </c:tx>
              <c:dLblPos val="t"/>
              <c:showLegendKey val="0"/>
              <c:showVal val="1"/>
              <c:showCatName val="0"/>
              <c:showSerName val="0"/>
              <c:showPercent val="0"/>
              <c:showBubbleSize val="0"/>
            </c:dLbl>
            <c:dLbl>
              <c:idx val="2"/>
              <c:tx>
                <c:rich>
                  <a:bodyPr/>
                  <a:lstStyle/>
                  <a:p>
                    <a:r>
                      <a:t>1113.21</a:t>
                    </a:r>
                  </a:p>
                </c:rich>
              </c:tx>
              <c:dLblPos val="t"/>
              <c:showLegendKey val="0"/>
              <c:showVal val="1"/>
              <c:showCatName val="0"/>
              <c:showSerName val="0"/>
              <c:showPercent val="0"/>
              <c:showBubbleSize val="0"/>
            </c:dLbl>
            <c:dLbl>
              <c:idx val="3"/>
              <c:tx>
                <c:rich>
                  <a:bodyPr/>
                  <a:lstStyle/>
                  <a:p>
                    <a:r>
                      <a:t>584.1</a:t>
                    </a:r>
                  </a:p>
                </c:rich>
              </c:tx>
              <c:dLblPos val="t"/>
              <c:showLegendKey val="0"/>
              <c:showVal val="1"/>
              <c:showCatName val="0"/>
              <c:showSerName val="0"/>
              <c:showPercent val="0"/>
              <c:showBubbleSize val="0"/>
            </c:dLbl>
            <c:dLbl>
              <c:idx val="4"/>
              <c:tx>
                <c:rich>
                  <a:bodyPr/>
                  <a:lstStyle/>
                  <a:p>
                    <a:r>
                      <a:t>1077.75</a:t>
                    </a:r>
                  </a:p>
                </c:rich>
              </c:tx>
              <c:dLblPos val="t"/>
              <c:showLegendKey val="0"/>
              <c:showVal val="1"/>
              <c:showCatName val="0"/>
              <c:showSerName val="0"/>
              <c:showPercent val="0"/>
              <c:showBubbleSize val="0"/>
            </c:dLbl>
            <c:dLbl>
              <c:idx val="5"/>
              <c:tx>
                <c:rich>
                  <a:bodyPr/>
                  <a:lstStyle/>
                  <a:p>
                    <a:r>
                      <a:t>1162.17</a:t>
                    </a:r>
                  </a:p>
                </c:rich>
              </c:tx>
              <c:dLblPos val="t"/>
              <c:showLegendKey val="0"/>
              <c:showVal val="1"/>
              <c:showCatName val="0"/>
              <c:showSerName val="0"/>
              <c:showPercent val="0"/>
              <c:showBubbleSize val="0"/>
            </c:dLbl>
            <c:dLbl>
              <c:idx val="6"/>
              <c:tx>
                <c:rich>
                  <a:bodyPr/>
                  <a:lstStyle/>
                  <a:p>
                    <a:r>
                      <a:t>544.44</a:t>
                    </a:r>
                  </a:p>
                </c:rich>
              </c:tx>
              <c:dLblPos val="t"/>
              <c:showLegendKey val="0"/>
              <c:showVal val="1"/>
              <c:showCatName val="0"/>
              <c:showSerName val="0"/>
              <c:showPercent val="0"/>
              <c:showBubbleSize val="0"/>
            </c:dLbl>
            <c:dLbl>
              <c:idx val="7"/>
              <c:tx>
                <c:rich>
                  <a:bodyPr/>
                  <a:lstStyle/>
                  <a:p>
                    <a:r>
                      <a:t>716.05</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720.6779</c:v>
                </c:pt>
                <c:pt idx="1">
                  <c:v>1221.0676</c:v>
                </c:pt>
                <c:pt idx="2">
                  <c:v>1113.2074</c:v>
                </c:pt>
                <c:pt idx="3">
                  <c:v>584.0981</c:v>
                </c:pt>
                <c:pt idx="4">
                  <c:v>1077.7548</c:v>
                </c:pt>
                <c:pt idx="5">
                  <c:v>1162.1727</c:v>
                </c:pt>
                <c:pt idx="6">
                  <c:v>544.4401</c:v>
                </c:pt>
                <c:pt idx="7">
                  <c:v>716.045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Adults</c:v>
                  </c:pt>
                  <c:pt idx="2">
                    <c:v>Sunscreen Kids</c:v>
                  </c:pt>
                  <c:pt idx="4">
                    <c:v>Sunscreen | O.O.S</c:v>
                  </c:pt>
                  <c:pt idx="6">
                    <c:v>Tanning Adults</c:v>
                  </c:pt>
                </c:lvl>
              </c:multiLvlStrCache>
            </c:multiLvlStrRef>
          </c:cat>
          <c:val>
            <c:numRef>
              <c:f>Sheet1!$C$2:$C$9</c:f>
              <c:numCache>
                <c:formatCode>General</c:formatCode>
                <c:ptCount val="8"/>
                <c:pt idx="0">
                  <c:v>268.6</c:v>
                </c:pt>
                <c:pt idx="1">
                  <c:v>32.2</c:v>
                </c:pt>
                <c:pt idx="2">
                  <c:v>21.6</c:v>
                </c:pt>
                <c:pt idx="3">
                  <c:v>0.0</c:v>
                </c:pt>
                <c:pt idx="4">
                  <c:v>9.3</c:v>
                </c:pt>
                <c:pt idx="5">
                  <c:v>0.0</c:v>
                </c:pt>
                <c:pt idx="6">
                  <c:v>3.1</c:v>
                </c:pt>
                <c:pt idx="7">
                  <c:v>1.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092.93</a:t>
                    </a:r>
                  </a:p>
                </c:rich>
              </c:tx>
              <c:dLblPos val="t"/>
              <c:showLegendKey val="0"/>
              <c:showVal val="1"/>
              <c:showCatName val="0"/>
              <c:showSerName val="0"/>
              <c:showPercent val="0"/>
              <c:showBubbleSize val="0"/>
            </c:dLbl>
            <c:dLbl>
              <c:idx val="1"/>
              <c:tx>
                <c:rich>
                  <a:bodyPr/>
                  <a:lstStyle/>
                  <a:p>
                    <a:r>
                      <a:t>1178.13</a:t>
                    </a:r>
                  </a:p>
                </c:rich>
              </c:tx>
              <c:dLblPos val="t"/>
              <c:showLegendKey val="0"/>
              <c:showVal val="1"/>
              <c:showCatName val="0"/>
              <c:showSerName val="0"/>
              <c:showPercent val="0"/>
              <c:showBubbleSize val="0"/>
            </c:dLbl>
            <c:dLbl>
              <c:idx val="2"/>
              <c:tx>
                <c:rich>
                  <a:bodyPr/>
                  <a:lstStyle/>
                  <a:p>
                    <a:r>
                      <a:t>1168.93</a:t>
                    </a:r>
                  </a:p>
                </c:rich>
              </c:tx>
              <c:dLblPos val="t"/>
              <c:showLegendKey val="0"/>
              <c:showVal val="1"/>
              <c:showCatName val="0"/>
              <c:showSerName val="0"/>
              <c:showPercent val="0"/>
              <c:showBubbleSize val="0"/>
            </c:dLbl>
            <c:dLbl>
              <c:idx val="3"/>
              <c:tx>
                <c:rich>
                  <a:bodyPr/>
                  <a:lstStyle/>
                  <a:p>
                    <a:r>
                      <a:t>720.62</a:t>
                    </a:r>
                  </a:p>
                </c:rich>
              </c:tx>
              <c:dLblPos val="t"/>
              <c:showLegendKey val="0"/>
              <c:showVal val="1"/>
              <c:showCatName val="0"/>
              <c:showSerName val="0"/>
              <c:showPercent val="0"/>
              <c:showBubbleSize val="0"/>
            </c:dLbl>
            <c:dLbl>
              <c:idx val="4"/>
              <c:tx>
                <c:rich>
                  <a:bodyPr/>
                  <a:lstStyle/>
                  <a:p>
                    <a:r>
                      <a:t>9981.33</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055.42</a:t>
                    </a:r>
                  </a:p>
                </c:rich>
              </c:tx>
              <c:dLblPos val="t"/>
              <c:showLegendKey val="0"/>
              <c:showVal val="1"/>
              <c:showCatName val="0"/>
              <c:showSerName val="0"/>
              <c:showPercent val="0"/>
              <c:showBubbleSize val="0"/>
            </c:dLbl>
            <c:dLbl>
              <c:idx val="7"/>
              <c:tx>
                <c:rich>
                  <a:bodyPr/>
                  <a:lstStyle/>
                  <a:p>
                    <a:r>
                      <a:t>1010.16</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Adults</c:v>
                  </c:pt>
                  <c:pt idx="2">
                    <c:v>Sunscreen Kids</c:v>
                  </c:pt>
                  <c:pt idx="4">
                    <c:v>Sunscreen | O.O.S</c:v>
                  </c:pt>
                  <c:pt idx="6">
                    <c:v>Tanning Adults</c:v>
                  </c:pt>
                </c:lvl>
              </c:multiLvlStrCache>
            </c:multiLvlStrRef>
          </c:cat>
          <c:val>
            <c:numRef>
              <c:f>Sheet1!$D$2:$D$9</c:f>
              <c:numCache>
                <c:formatCode>General</c:formatCode>
                <c:ptCount val="8"/>
                <c:pt idx="0">
                  <c:v>2092.9344</c:v>
                </c:pt>
                <c:pt idx="1">
                  <c:v>1178.1282</c:v>
                </c:pt>
                <c:pt idx="2">
                  <c:v>1168.932</c:v>
                </c:pt>
                <c:pt idx="3">
                  <c:v>720.619</c:v>
                </c:pt>
                <c:pt idx="4">
                  <c:v>9981.3312</c:v>
                </c:pt>
                <c:pt idx="5">
                  <c:v>0.0</c:v>
                </c:pt>
                <c:pt idx="6">
                  <c:v>1055.4155</c:v>
                </c:pt>
                <c:pt idx="7">
                  <c:v>1010.15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230.2</c:v>
                </c:pt>
                <c:pt idx="1">
                  <c:v>45.8</c:v>
                </c:pt>
                <c:pt idx="2">
                  <c:v>26.1</c:v>
                </c:pt>
                <c:pt idx="3">
                  <c:v>0.1</c:v>
                </c:pt>
                <c:pt idx="4">
                  <c:v>8.3</c:v>
                </c:pt>
                <c:pt idx="5">
                  <c:v>3.0</c:v>
                </c:pt>
                <c:pt idx="6">
                  <c:v>8.2</c:v>
                </c:pt>
                <c:pt idx="7">
                  <c:v>2.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26.11</a:t>
                    </a:r>
                  </a:p>
                </c:rich>
              </c:tx>
              <c:dLblPos val="t"/>
              <c:showLegendKey val="0"/>
              <c:showVal val="1"/>
              <c:showCatName val="0"/>
              <c:showSerName val="0"/>
              <c:showPercent val="0"/>
              <c:showBubbleSize val="0"/>
            </c:dLbl>
            <c:dLbl>
              <c:idx val="1"/>
              <c:tx>
                <c:rich>
                  <a:bodyPr/>
                  <a:lstStyle/>
                  <a:p>
                    <a:r>
                      <a:t>1179.68</a:t>
                    </a:r>
                  </a:p>
                </c:rich>
              </c:tx>
              <c:dLblPos val="t"/>
              <c:showLegendKey val="0"/>
              <c:showVal val="1"/>
              <c:showCatName val="0"/>
              <c:showSerName val="0"/>
              <c:showPercent val="0"/>
              <c:showBubbleSize val="0"/>
            </c:dLbl>
            <c:dLbl>
              <c:idx val="2"/>
              <c:tx>
                <c:rich>
                  <a:bodyPr/>
                  <a:lstStyle/>
                  <a:p>
                    <a:r>
                      <a:t>1066.37</a:t>
                    </a:r>
                  </a:p>
                </c:rich>
              </c:tx>
              <c:dLblPos val="t"/>
              <c:showLegendKey val="0"/>
              <c:showVal val="1"/>
              <c:showCatName val="0"/>
              <c:showSerName val="0"/>
              <c:showPercent val="0"/>
              <c:showBubbleSize val="0"/>
            </c:dLbl>
            <c:dLbl>
              <c:idx val="3"/>
              <c:tx>
                <c:rich>
                  <a:bodyPr/>
                  <a:lstStyle/>
                  <a:p>
                    <a:r>
                      <a:t>547.92</a:t>
                    </a:r>
                  </a:p>
                </c:rich>
              </c:tx>
              <c:dLblPos val="t"/>
              <c:showLegendKey val="0"/>
              <c:showVal val="1"/>
              <c:showCatName val="0"/>
              <c:showSerName val="0"/>
              <c:showPercent val="0"/>
              <c:showBubbleSize val="0"/>
            </c:dLbl>
            <c:dLbl>
              <c:idx val="4"/>
              <c:tx>
                <c:rich>
                  <a:bodyPr/>
                  <a:lstStyle/>
                  <a:p>
                    <a:r>
                      <a:t>1175.47</a:t>
                    </a:r>
                  </a:p>
                </c:rich>
              </c:tx>
              <c:dLblPos val="t"/>
              <c:showLegendKey val="0"/>
              <c:showVal val="1"/>
              <c:showCatName val="0"/>
              <c:showSerName val="0"/>
              <c:showPercent val="0"/>
              <c:showBubbleSize val="0"/>
            </c:dLbl>
            <c:dLbl>
              <c:idx val="5"/>
              <c:tx>
                <c:rich>
                  <a:bodyPr/>
                  <a:lstStyle/>
                  <a:p>
                    <a:r>
                      <a:t>1135.24</a:t>
                    </a:r>
                  </a:p>
                </c:rich>
              </c:tx>
              <c:dLblPos val="t"/>
              <c:showLegendKey val="0"/>
              <c:showVal val="1"/>
              <c:showCatName val="0"/>
              <c:showSerName val="0"/>
              <c:showPercent val="0"/>
              <c:showBubbleSize val="0"/>
            </c:dLbl>
            <c:dLbl>
              <c:idx val="6"/>
              <c:tx>
                <c:rich>
                  <a:bodyPr/>
                  <a:lstStyle/>
                  <a:p>
                    <a:r>
                      <a:t>631.14</a:t>
                    </a:r>
                  </a:p>
                </c:rich>
              </c:tx>
              <c:dLblPos val="t"/>
              <c:showLegendKey val="0"/>
              <c:showVal val="1"/>
              <c:showCatName val="0"/>
              <c:showSerName val="0"/>
              <c:showPercent val="0"/>
              <c:showBubbleSize val="0"/>
            </c:dLbl>
            <c:dLbl>
              <c:idx val="7"/>
              <c:tx>
                <c:rich>
                  <a:bodyPr/>
                  <a:lstStyle/>
                  <a:p>
                    <a:r>
                      <a:t>627.84</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426.1102</c:v>
                </c:pt>
                <c:pt idx="1">
                  <c:v>1179.6787</c:v>
                </c:pt>
                <c:pt idx="2">
                  <c:v>1066.3696</c:v>
                </c:pt>
                <c:pt idx="3">
                  <c:v>547.9179</c:v>
                </c:pt>
                <c:pt idx="4">
                  <c:v>1175.4741</c:v>
                </c:pt>
                <c:pt idx="5">
                  <c:v>1135.2434</c:v>
                </c:pt>
                <c:pt idx="6">
                  <c:v>631.1431</c:v>
                </c:pt>
                <c:pt idx="7">
                  <c:v>627.838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229.5</c:v>
                </c:pt>
                <c:pt idx="1">
                  <c:v>38.5</c:v>
                </c:pt>
                <c:pt idx="2">
                  <c:v>24.6</c:v>
                </c:pt>
                <c:pt idx="3">
                  <c:v>0.1</c:v>
                </c:pt>
                <c:pt idx="4">
                  <c:v>5.3</c:v>
                </c:pt>
                <c:pt idx="5">
                  <c:v>2.4</c:v>
                </c:pt>
                <c:pt idx="6">
                  <c:v>3.3</c:v>
                </c:pt>
                <c:pt idx="7">
                  <c:v>1.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50.27</a:t>
                    </a:r>
                  </a:p>
                </c:rich>
              </c:tx>
              <c:dLblPos val="t"/>
              <c:showLegendKey val="0"/>
              <c:showVal val="1"/>
              <c:showCatName val="0"/>
              <c:showSerName val="0"/>
              <c:showPercent val="0"/>
              <c:showBubbleSize val="0"/>
            </c:dLbl>
            <c:dLbl>
              <c:idx val="1"/>
              <c:tx>
                <c:rich>
                  <a:bodyPr/>
                  <a:lstStyle/>
                  <a:p>
                    <a:r>
                      <a:t>1201.84</a:t>
                    </a:r>
                  </a:p>
                </c:rich>
              </c:tx>
              <c:dLblPos val="t"/>
              <c:showLegendKey val="0"/>
              <c:showVal val="1"/>
              <c:showCatName val="0"/>
              <c:showSerName val="0"/>
              <c:showPercent val="0"/>
              <c:showBubbleSize val="0"/>
            </c:dLbl>
            <c:dLbl>
              <c:idx val="2"/>
              <c:tx>
                <c:rich>
                  <a:bodyPr/>
                  <a:lstStyle/>
                  <a:p>
                    <a:r>
                      <a:t>1119.7</a:t>
                    </a:r>
                  </a:p>
                </c:rich>
              </c:tx>
              <c:dLblPos val="t"/>
              <c:showLegendKey val="0"/>
              <c:showVal val="1"/>
              <c:showCatName val="0"/>
              <c:showSerName val="0"/>
              <c:showPercent val="0"/>
              <c:showBubbleSize val="0"/>
            </c:dLbl>
            <c:dLbl>
              <c:idx val="3"/>
              <c:tx>
                <c:rich>
                  <a:bodyPr/>
                  <a:lstStyle/>
                  <a:p>
                    <a:r>
                      <a:t>594.51</a:t>
                    </a:r>
                  </a:p>
                </c:rich>
              </c:tx>
              <c:dLblPos val="t"/>
              <c:showLegendKey val="0"/>
              <c:showVal val="1"/>
              <c:showCatName val="0"/>
              <c:showSerName val="0"/>
              <c:showPercent val="0"/>
              <c:showBubbleSize val="0"/>
            </c:dLbl>
            <c:dLbl>
              <c:idx val="4"/>
              <c:tx>
                <c:rich>
                  <a:bodyPr/>
                  <a:lstStyle/>
                  <a:p>
                    <a:r>
                      <a:t>1114.83</a:t>
                    </a:r>
                  </a:p>
                </c:rich>
              </c:tx>
              <c:dLblPos val="t"/>
              <c:showLegendKey val="0"/>
              <c:showVal val="1"/>
              <c:showCatName val="0"/>
              <c:showSerName val="0"/>
              <c:showPercent val="0"/>
              <c:showBubbleSize val="0"/>
            </c:dLbl>
            <c:dLbl>
              <c:idx val="5"/>
              <c:tx>
                <c:rich>
                  <a:bodyPr/>
                  <a:lstStyle/>
                  <a:p>
                    <a:r>
                      <a:t>1110.6</a:t>
                    </a:r>
                  </a:p>
                </c:rich>
              </c:tx>
              <c:dLblPos val="t"/>
              <c:showLegendKey val="0"/>
              <c:showVal val="1"/>
              <c:showCatName val="0"/>
              <c:showSerName val="0"/>
              <c:showPercent val="0"/>
              <c:showBubbleSize val="0"/>
            </c:dLbl>
            <c:dLbl>
              <c:idx val="6"/>
              <c:tx>
                <c:rich>
                  <a:bodyPr/>
                  <a:lstStyle/>
                  <a:p>
                    <a:r>
                      <a:t>560.45</a:t>
                    </a:r>
                  </a:p>
                </c:rich>
              </c:tx>
              <c:dLblPos val="t"/>
              <c:showLegendKey val="0"/>
              <c:showVal val="1"/>
              <c:showCatName val="0"/>
              <c:showSerName val="0"/>
              <c:showPercent val="0"/>
              <c:showBubbleSize val="0"/>
            </c:dLbl>
            <c:dLbl>
              <c:idx val="7"/>
              <c:tx>
                <c:rich>
                  <a:bodyPr/>
                  <a:lstStyle/>
                  <a:p>
                    <a:r>
                      <a:t>706.36</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650.2656</c:v>
                </c:pt>
                <c:pt idx="1">
                  <c:v>1201.8362</c:v>
                </c:pt>
                <c:pt idx="2">
                  <c:v>1119.7041</c:v>
                </c:pt>
                <c:pt idx="3">
                  <c:v>594.5136</c:v>
                </c:pt>
                <c:pt idx="4">
                  <c:v>1114.8275</c:v>
                </c:pt>
                <c:pt idx="5">
                  <c:v>1110.5969</c:v>
                </c:pt>
                <c:pt idx="6">
                  <c:v>560.4546</c:v>
                </c:pt>
                <c:pt idx="7">
                  <c:v>706.364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219.5</c:v>
                </c:pt>
                <c:pt idx="1">
                  <c:v>43.5</c:v>
                </c:pt>
                <c:pt idx="2">
                  <c:v>23.2</c:v>
                </c:pt>
                <c:pt idx="3">
                  <c:v>0.1</c:v>
                </c:pt>
                <c:pt idx="4">
                  <c:v>5.9</c:v>
                </c:pt>
                <c:pt idx="5">
                  <c:v>2.7</c:v>
                </c:pt>
                <c:pt idx="6">
                  <c:v>3.9</c:v>
                </c:pt>
                <c:pt idx="7">
                  <c:v>1.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65.94</a:t>
                    </a:r>
                  </a:p>
                </c:rich>
              </c:tx>
              <c:dLblPos val="t"/>
              <c:showLegendKey val="0"/>
              <c:showVal val="1"/>
              <c:showCatName val="0"/>
              <c:showSerName val="0"/>
              <c:showPercent val="0"/>
              <c:showBubbleSize val="0"/>
            </c:dLbl>
            <c:dLbl>
              <c:idx val="1"/>
              <c:tx>
                <c:rich>
                  <a:bodyPr/>
                  <a:lstStyle/>
                  <a:p>
                    <a:r>
                      <a:t>1250.12</a:t>
                    </a:r>
                  </a:p>
                </c:rich>
              </c:tx>
              <c:dLblPos val="t"/>
              <c:showLegendKey val="0"/>
              <c:showVal val="1"/>
              <c:showCatName val="0"/>
              <c:showSerName val="0"/>
              <c:showPercent val="0"/>
              <c:showBubbleSize val="0"/>
            </c:dLbl>
            <c:dLbl>
              <c:idx val="2"/>
              <c:tx>
                <c:rich>
                  <a:bodyPr/>
                  <a:lstStyle/>
                  <a:p>
                    <a:r>
                      <a:t>1145.37</a:t>
                    </a:r>
                  </a:p>
                </c:rich>
              </c:tx>
              <c:dLblPos val="t"/>
              <c:showLegendKey val="0"/>
              <c:showVal val="1"/>
              <c:showCatName val="0"/>
              <c:showSerName val="0"/>
              <c:showPercent val="0"/>
              <c:showBubbleSize val="0"/>
            </c:dLbl>
            <c:dLbl>
              <c:idx val="3"/>
              <c:tx>
                <c:rich>
                  <a:bodyPr/>
                  <a:lstStyle/>
                  <a:p>
                    <a:r>
                      <a:t>645.62</a:t>
                    </a:r>
                  </a:p>
                </c:rich>
              </c:tx>
              <c:dLblPos val="t"/>
              <c:showLegendKey val="0"/>
              <c:showVal val="1"/>
              <c:showCatName val="0"/>
              <c:showSerName val="0"/>
              <c:showPercent val="0"/>
              <c:showBubbleSize val="0"/>
            </c:dLbl>
            <c:dLbl>
              <c:idx val="4"/>
              <c:tx>
                <c:rich>
                  <a:bodyPr/>
                  <a:lstStyle/>
                  <a:p>
                    <a:r>
                      <a:t>1094.98</a:t>
                    </a:r>
                  </a:p>
                </c:rich>
              </c:tx>
              <c:dLblPos val="t"/>
              <c:showLegendKey val="0"/>
              <c:showVal val="1"/>
              <c:showCatName val="0"/>
              <c:showSerName val="0"/>
              <c:showPercent val="0"/>
              <c:showBubbleSize val="0"/>
            </c:dLbl>
            <c:dLbl>
              <c:idx val="5"/>
              <c:tx>
                <c:rich>
                  <a:bodyPr/>
                  <a:lstStyle/>
                  <a:p>
                    <a:r>
                      <a:t>1141.92</a:t>
                    </a:r>
                  </a:p>
                </c:rich>
              </c:tx>
              <c:dLblPos val="t"/>
              <c:showLegendKey val="0"/>
              <c:showVal val="1"/>
              <c:showCatName val="0"/>
              <c:showSerName val="0"/>
              <c:showPercent val="0"/>
              <c:showBubbleSize val="0"/>
            </c:dLbl>
            <c:dLbl>
              <c:idx val="6"/>
              <c:tx>
                <c:rich>
                  <a:bodyPr/>
                  <a:lstStyle/>
                  <a:p>
                    <a:r>
                      <a:t>556.78</a:t>
                    </a:r>
                  </a:p>
                </c:rich>
              </c:tx>
              <c:dLblPos val="t"/>
              <c:showLegendKey val="0"/>
              <c:showVal val="1"/>
              <c:showCatName val="0"/>
              <c:showSerName val="0"/>
              <c:showPercent val="0"/>
              <c:showBubbleSize val="0"/>
            </c:dLbl>
            <c:dLbl>
              <c:idx val="7"/>
              <c:tx>
                <c:rich>
                  <a:bodyPr/>
                  <a:lstStyle/>
                  <a:p>
                    <a:r>
                      <a:t>705.32</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665.943</c:v>
                </c:pt>
                <c:pt idx="1">
                  <c:v>1250.125</c:v>
                </c:pt>
                <c:pt idx="2">
                  <c:v>1145.3687</c:v>
                </c:pt>
                <c:pt idx="3">
                  <c:v>645.625</c:v>
                </c:pt>
                <c:pt idx="4">
                  <c:v>1094.9781</c:v>
                </c:pt>
                <c:pt idx="5">
                  <c:v>1141.9157</c:v>
                </c:pt>
                <c:pt idx="6">
                  <c:v>556.7827</c:v>
                </c:pt>
                <c:pt idx="7">
                  <c:v>705.321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162.9</c:v>
                </c:pt>
                <c:pt idx="1">
                  <c:v>31.6</c:v>
                </c:pt>
                <c:pt idx="2">
                  <c:v>16.5</c:v>
                </c:pt>
                <c:pt idx="3">
                  <c:v>0.0</c:v>
                </c:pt>
                <c:pt idx="4">
                  <c:v>4.0</c:v>
                </c:pt>
                <c:pt idx="5">
                  <c:v>1.7</c:v>
                </c:pt>
                <c:pt idx="6">
                  <c:v>3.0</c:v>
                </c:pt>
                <c:pt idx="7">
                  <c:v>1.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20.38</a:t>
                    </a:r>
                  </a:p>
                </c:rich>
              </c:tx>
              <c:dLblPos val="t"/>
              <c:showLegendKey val="0"/>
              <c:showVal val="1"/>
              <c:showCatName val="0"/>
              <c:showSerName val="0"/>
              <c:showPercent val="0"/>
              <c:showBubbleSize val="0"/>
            </c:dLbl>
            <c:dLbl>
              <c:idx val="1"/>
              <c:tx>
                <c:rich>
                  <a:bodyPr/>
                  <a:lstStyle/>
                  <a:p>
                    <a:r>
                      <a:t>1259.53</a:t>
                    </a:r>
                  </a:p>
                </c:rich>
              </c:tx>
              <c:dLblPos val="t"/>
              <c:showLegendKey val="0"/>
              <c:showVal val="1"/>
              <c:showCatName val="0"/>
              <c:showSerName val="0"/>
              <c:showPercent val="0"/>
              <c:showBubbleSize val="0"/>
            </c:dLbl>
            <c:dLbl>
              <c:idx val="2"/>
              <c:tx>
                <c:rich>
                  <a:bodyPr/>
                  <a:lstStyle/>
                  <a:p>
                    <a:r>
                      <a:t>1211.63</a:t>
                    </a:r>
                  </a:p>
                </c:rich>
              </c:tx>
              <c:dLblPos val="t"/>
              <c:showLegendKey val="0"/>
              <c:showVal val="1"/>
              <c:showCatName val="0"/>
              <c:showSerName val="0"/>
              <c:showPercent val="0"/>
              <c:showBubbleSize val="0"/>
            </c:dLbl>
            <c:dLbl>
              <c:idx val="3"/>
              <c:tx>
                <c:rich>
                  <a:bodyPr/>
                  <a:lstStyle/>
                  <a:p>
                    <a:r>
                      <a:t>533.25</a:t>
                    </a:r>
                  </a:p>
                </c:rich>
              </c:tx>
              <c:dLblPos val="t"/>
              <c:showLegendKey val="0"/>
              <c:showVal val="1"/>
              <c:showCatName val="0"/>
              <c:showSerName val="0"/>
              <c:showPercent val="0"/>
              <c:showBubbleSize val="0"/>
            </c:dLbl>
            <c:dLbl>
              <c:idx val="4"/>
              <c:tx>
                <c:rich>
                  <a:bodyPr/>
                  <a:lstStyle/>
                  <a:p>
                    <a:r>
                      <a:t>1142.43</a:t>
                    </a:r>
                  </a:p>
                </c:rich>
              </c:tx>
              <c:dLblPos val="t"/>
              <c:showLegendKey val="0"/>
              <c:showVal val="1"/>
              <c:showCatName val="0"/>
              <c:showSerName val="0"/>
              <c:showPercent val="0"/>
              <c:showBubbleSize val="0"/>
            </c:dLbl>
            <c:dLbl>
              <c:idx val="5"/>
              <c:tx>
                <c:rich>
                  <a:bodyPr/>
                  <a:lstStyle/>
                  <a:p>
                    <a:r>
                      <a:t>1129.8</a:t>
                    </a:r>
                  </a:p>
                </c:rich>
              </c:tx>
              <c:dLblPos val="t"/>
              <c:showLegendKey val="0"/>
              <c:showVal val="1"/>
              <c:showCatName val="0"/>
              <c:showSerName val="0"/>
              <c:showPercent val="0"/>
              <c:showBubbleSize val="0"/>
            </c:dLbl>
            <c:dLbl>
              <c:idx val="6"/>
              <c:tx>
                <c:rich>
                  <a:bodyPr/>
                  <a:lstStyle/>
                  <a:p>
                    <a:r>
                      <a:t>579.33</a:t>
                    </a:r>
                  </a:p>
                </c:rich>
              </c:tx>
              <c:dLblPos val="t"/>
              <c:showLegendKey val="0"/>
              <c:showVal val="1"/>
              <c:showCatName val="0"/>
              <c:showSerName val="0"/>
              <c:showPercent val="0"/>
              <c:showBubbleSize val="0"/>
            </c:dLbl>
            <c:dLbl>
              <c:idx val="7"/>
              <c:tx>
                <c:rich>
                  <a:bodyPr/>
                  <a:lstStyle/>
                  <a:p>
                    <a:r>
                      <a:t>710.32</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620.3788</c:v>
                </c:pt>
                <c:pt idx="1">
                  <c:v>1259.5283</c:v>
                </c:pt>
                <c:pt idx="2">
                  <c:v>1211.6323</c:v>
                </c:pt>
                <c:pt idx="3">
                  <c:v>533.253</c:v>
                </c:pt>
                <c:pt idx="4">
                  <c:v>1142.4345</c:v>
                </c:pt>
                <c:pt idx="5">
                  <c:v>1129.7966</c:v>
                </c:pt>
                <c:pt idx="6">
                  <c:v>579.3304</c:v>
                </c:pt>
                <c:pt idx="7">
                  <c:v>710.318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1419.7</c:v>
                </c:pt>
                <c:pt idx="1">
                  <c:v>163.5</c:v>
                </c:pt>
                <c:pt idx="2">
                  <c:v>139.7</c:v>
                </c:pt>
                <c:pt idx="3">
                  <c:v>40.4</c:v>
                </c:pt>
                <c:pt idx="4">
                  <c:v>32.5</c:v>
                </c:pt>
                <c:pt idx="5">
                  <c:v>2.8</c:v>
                </c:pt>
                <c:pt idx="6">
                  <c:v>24.9</c:v>
                </c:pt>
                <c:pt idx="7">
                  <c:v>7.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88.72</a:t>
                    </a:r>
                  </a:p>
                </c:rich>
              </c:tx>
              <c:dLblPos val="t"/>
              <c:showLegendKey val="0"/>
              <c:showVal val="1"/>
              <c:showCatName val="0"/>
              <c:showSerName val="0"/>
              <c:showPercent val="0"/>
              <c:showBubbleSize val="0"/>
            </c:dLbl>
            <c:dLbl>
              <c:idx val="1"/>
              <c:tx>
                <c:rich>
                  <a:bodyPr/>
                  <a:lstStyle/>
                  <a:p>
                    <a:r>
                      <a:t>1214.02</a:t>
                    </a:r>
                  </a:p>
                </c:rich>
              </c:tx>
              <c:dLblPos val="t"/>
              <c:showLegendKey val="0"/>
              <c:showVal val="1"/>
              <c:showCatName val="0"/>
              <c:showSerName val="0"/>
              <c:showPercent val="0"/>
              <c:showBubbleSize val="0"/>
            </c:dLbl>
            <c:dLbl>
              <c:idx val="2"/>
              <c:tx>
                <c:rich>
                  <a:bodyPr/>
                  <a:lstStyle/>
                  <a:p>
                    <a:r>
                      <a:t>1129.52</a:t>
                    </a:r>
                  </a:p>
                </c:rich>
              </c:tx>
              <c:dLblPos val="t"/>
              <c:showLegendKey val="0"/>
              <c:showVal val="1"/>
              <c:showCatName val="0"/>
              <c:showSerName val="0"/>
              <c:showPercent val="0"/>
              <c:showBubbleSize val="0"/>
            </c:dLbl>
            <c:dLbl>
              <c:idx val="3"/>
              <c:tx>
                <c:rich>
                  <a:bodyPr/>
                  <a:lstStyle/>
                  <a:p>
                    <a:r>
                      <a:t>1218.68</a:t>
                    </a:r>
                  </a:p>
                </c:rich>
              </c:tx>
              <c:dLblPos val="t"/>
              <c:showLegendKey val="0"/>
              <c:showVal val="1"/>
              <c:showCatName val="0"/>
              <c:showSerName val="0"/>
              <c:showPercent val="0"/>
              <c:showBubbleSize val="0"/>
            </c:dLbl>
            <c:dLbl>
              <c:idx val="4"/>
              <c:tx>
                <c:rich>
                  <a:bodyPr/>
                  <a:lstStyle/>
                  <a:p>
                    <a:r>
                      <a:t>1116.29</a:t>
                    </a:r>
                  </a:p>
                </c:rich>
              </c:tx>
              <c:dLblPos val="t"/>
              <c:showLegendKey val="0"/>
              <c:showVal val="1"/>
              <c:showCatName val="0"/>
              <c:showSerName val="0"/>
              <c:showPercent val="0"/>
              <c:showBubbleSize val="0"/>
            </c:dLbl>
            <c:dLbl>
              <c:idx val="5"/>
              <c:tx>
                <c:rich>
                  <a:bodyPr/>
                  <a:lstStyle/>
                  <a:p>
                    <a:r>
                      <a:t>932.19</a:t>
                    </a:r>
                  </a:p>
                </c:rich>
              </c:tx>
              <c:dLblPos val="t"/>
              <c:showLegendKey val="0"/>
              <c:showVal val="1"/>
              <c:showCatName val="0"/>
              <c:showSerName val="0"/>
              <c:showPercent val="0"/>
              <c:showBubbleSize val="0"/>
            </c:dLbl>
            <c:dLbl>
              <c:idx val="6"/>
              <c:tx>
                <c:rich>
                  <a:bodyPr/>
                  <a:lstStyle/>
                  <a:p>
                    <a:r>
                      <a:t>576.52</a:t>
                    </a:r>
                  </a:p>
                </c:rich>
              </c:tx>
              <c:dLblPos val="t"/>
              <c:showLegendKey val="0"/>
              <c:showVal val="1"/>
              <c:showCatName val="0"/>
              <c:showSerName val="0"/>
              <c:showPercent val="0"/>
              <c:showBubbleSize val="0"/>
            </c:dLbl>
            <c:dLbl>
              <c:idx val="7"/>
              <c:tx>
                <c:rich>
                  <a:bodyPr/>
                  <a:lstStyle/>
                  <a:p>
                    <a:r>
                      <a:t>439.69</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688.7191</c:v>
                </c:pt>
                <c:pt idx="1">
                  <c:v>1214.0245</c:v>
                </c:pt>
                <c:pt idx="2">
                  <c:v>1129.5238</c:v>
                </c:pt>
                <c:pt idx="3">
                  <c:v>1218.685</c:v>
                </c:pt>
                <c:pt idx="4">
                  <c:v>1116.2927</c:v>
                </c:pt>
                <c:pt idx="5">
                  <c:v>932.1867</c:v>
                </c:pt>
                <c:pt idx="6">
                  <c:v>576.5214</c:v>
                </c:pt>
                <c:pt idx="7">
                  <c:v>439.694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2D98B93-856E-4425-9A33-DB3EFC4A70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C6BFBFD-D9BE-4624-9B1A-40D1BD67E8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700052D-EDA9-4D82-9648-72AEFF96D5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4A3990E-A4DD-4206-B255-59E0776ABB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3910852-E272-4EF4-AB09-9A5FCD6203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360E7CB-C9F5-4E31-9E7F-A9D3332047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DD329B7-69FA-453A-8DB2-942FFCAC36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00C3992-CD19-4473-B44F-C40A923128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2.3264</c:v>
                </c:pt>
                <c:pt idx="1">
                  <c:v>221.7583</c:v>
                </c:pt>
                <c:pt idx="2">
                  <c:v>233.3937</c:v>
                </c:pt>
                <c:pt idx="3">
                  <c:v>282.0527</c:v>
                </c:pt>
                <c:pt idx="4">
                  <c:v>89.0421</c:v>
                </c:pt>
                <c:pt idx="5">
                  <c:v>602.8249</c:v>
                </c:pt>
                <c:pt idx="6">
                  <c:v>73.9626</c:v>
                </c:pt>
                <c:pt idx="7">
                  <c:v>156.0933</c:v>
                </c:pt>
              </c:numCache>
            </c:numRef>
          </c:xVal>
          <c:yVal>
            <c:numRef>
              <c:f>Sheet1!$B$2:$B$9</c:f>
              <c:numCache>
                <c:formatCode>General</c:formatCode>
                <c:ptCount val="8"/>
                <c:pt idx="0">
                  <c:v>1.109</c:v>
                </c:pt>
                <c:pt idx="1">
                  <c:v>0.827</c:v>
                </c:pt>
                <c:pt idx="2">
                  <c:v>0.859</c:v>
                </c:pt>
                <c:pt idx="3">
                  <c:v>2.017</c:v>
                </c:pt>
                <c:pt idx="4">
                  <c:v>0.476</c:v>
                </c:pt>
                <c:pt idx="5">
                  <c:v>4.644</c:v>
                </c:pt>
                <c:pt idx="6">
                  <c:v>0.433</c:v>
                </c:pt>
                <c:pt idx="7">
                  <c:v>2.176</c:v>
                </c:pt>
              </c:numCache>
            </c:numRef>
          </c:yVal>
          <c:bubbleSize>
            <c:numRef>
              <c:f>Sheet1!$C$2:$C$9</c:f>
              <c:numCache>
                <c:formatCode>General</c:formatCode>
                <c:ptCount val="8"/>
                <c:pt idx="0">
                  <c:v>94584130</c:v>
                </c:pt>
                <c:pt idx="1">
                  <c:v>45779791</c:v>
                </c:pt>
                <c:pt idx="2">
                  <c:v>27044258</c:v>
                </c:pt>
                <c:pt idx="3">
                  <c:v>13126731</c:v>
                </c:pt>
                <c:pt idx="4">
                  <c:v>8014855</c:v>
                </c:pt>
                <c:pt idx="5">
                  <c:v>3622375</c:v>
                </c:pt>
                <c:pt idx="6">
                  <c:v>2439508</c:v>
                </c:pt>
                <c:pt idx="7">
                  <c:v>223447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3.0"/>
          <c:min val="59.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309.0</c:v>
                </c:pt>
                <c:pt idx="1">
                  <c:v>32.1</c:v>
                </c:pt>
                <c:pt idx="2">
                  <c:v>27.7</c:v>
                </c:pt>
                <c:pt idx="3">
                  <c:v>7.3</c:v>
                </c:pt>
                <c:pt idx="4">
                  <c:v>5.9</c:v>
                </c:pt>
                <c:pt idx="5">
                  <c:v>0.6</c:v>
                </c:pt>
                <c:pt idx="6">
                  <c:v>4.4</c:v>
                </c:pt>
                <c:pt idx="7">
                  <c:v>1.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720.68</a:t>
                    </a:r>
                  </a:p>
                </c:rich>
              </c:tx>
              <c:dLblPos val="t"/>
              <c:showLegendKey val="0"/>
              <c:showVal val="1"/>
              <c:showCatName val="0"/>
              <c:showSerName val="0"/>
              <c:showPercent val="0"/>
              <c:showBubbleSize val="0"/>
            </c:dLbl>
            <c:dLbl>
              <c:idx val="1"/>
              <c:tx>
                <c:rich>
                  <a:bodyPr/>
                  <a:lstStyle/>
                  <a:p>
                    <a:r>
                      <a:t>1172.36</a:t>
                    </a:r>
                  </a:p>
                </c:rich>
              </c:tx>
              <c:dLblPos val="t"/>
              <c:showLegendKey val="0"/>
              <c:showVal val="1"/>
              <c:showCatName val="0"/>
              <c:showSerName val="0"/>
              <c:showPercent val="0"/>
              <c:showBubbleSize val="0"/>
            </c:dLbl>
            <c:dLbl>
              <c:idx val="2"/>
              <c:tx>
                <c:rich>
                  <a:bodyPr/>
                  <a:lstStyle/>
                  <a:p>
                    <a:r>
                      <a:t>1113.21</a:t>
                    </a:r>
                  </a:p>
                </c:rich>
              </c:tx>
              <c:dLblPos val="t"/>
              <c:showLegendKey val="0"/>
              <c:showVal val="1"/>
              <c:showCatName val="0"/>
              <c:showSerName val="0"/>
              <c:showPercent val="0"/>
              <c:showBubbleSize val="0"/>
            </c:dLbl>
            <c:dLbl>
              <c:idx val="3"/>
              <c:tx>
                <c:rich>
                  <a:bodyPr/>
                  <a:lstStyle/>
                  <a:p>
                    <a:r>
                      <a:t>1222.9</a:t>
                    </a:r>
                  </a:p>
                </c:rich>
              </c:tx>
              <c:dLblPos val="t"/>
              <c:showLegendKey val="0"/>
              <c:showVal val="1"/>
              <c:showCatName val="0"/>
              <c:showSerName val="0"/>
              <c:showPercent val="0"/>
              <c:showBubbleSize val="0"/>
            </c:dLbl>
            <c:dLbl>
              <c:idx val="4"/>
              <c:tx>
                <c:rich>
                  <a:bodyPr/>
                  <a:lstStyle/>
                  <a:p>
                    <a:r>
                      <a:t>1077.75</a:t>
                    </a:r>
                  </a:p>
                </c:rich>
              </c:tx>
              <c:dLblPos val="t"/>
              <c:showLegendKey val="0"/>
              <c:showVal val="1"/>
              <c:showCatName val="0"/>
              <c:showSerName val="0"/>
              <c:showPercent val="0"/>
              <c:showBubbleSize val="0"/>
            </c:dLbl>
            <c:dLbl>
              <c:idx val="5"/>
              <c:tx>
                <c:rich>
                  <a:bodyPr/>
                  <a:lstStyle/>
                  <a:p>
                    <a:r>
                      <a:t>925.34</a:t>
                    </a:r>
                  </a:p>
                </c:rich>
              </c:tx>
              <c:dLblPos val="t"/>
              <c:showLegendKey val="0"/>
              <c:showVal val="1"/>
              <c:showCatName val="0"/>
              <c:showSerName val="0"/>
              <c:showPercent val="0"/>
              <c:showBubbleSize val="0"/>
            </c:dLbl>
            <c:dLbl>
              <c:idx val="6"/>
              <c:tx>
                <c:rich>
                  <a:bodyPr/>
                  <a:lstStyle/>
                  <a:p>
                    <a:r>
                      <a:t>544.44</a:t>
                    </a:r>
                  </a:p>
                </c:rich>
              </c:tx>
              <c:dLblPos val="t"/>
              <c:showLegendKey val="0"/>
              <c:showVal val="1"/>
              <c:showCatName val="0"/>
              <c:showSerName val="0"/>
              <c:showPercent val="0"/>
              <c:showBubbleSize val="0"/>
            </c:dLbl>
            <c:dLbl>
              <c:idx val="7"/>
              <c:tx>
                <c:rich>
                  <a:bodyPr/>
                  <a:lstStyle/>
                  <a:p>
                    <a:r>
                      <a:t>431.06</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720.6779</c:v>
                </c:pt>
                <c:pt idx="1">
                  <c:v>1172.3556</c:v>
                </c:pt>
                <c:pt idx="2">
                  <c:v>1113.2074</c:v>
                </c:pt>
                <c:pt idx="3">
                  <c:v>1222.9034</c:v>
                </c:pt>
                <c:pt idx="4">
                  <c:v>1077.7548</c:v>
                </c:pt>
                <c:pt idx="5">
                  <c:v>925.3365</c:v>
                </c:pt>
                <c:pt idx="6">
                  <c:v>544.4401</c:v>
                </c:pt>
                <c:pt idx="7">
                  <c:v>431.06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Adults</c:v>
                  </c:pt>
                  <c:pt idx="2">
                    <c:v>Sunscreen Kids</c:v>
                  </c:pt>
                  <c:pt idx="4">
                    <c:v>Sunscreen | O.O.S</c:v>
                  </c:pt>
                  <c:pt idx="6">
                    <c:v>Tanning Adults</c:v>
                  </c:pt>
                </c:lvl>
              </c:multiLvlStrCache>
            </c:multiLvlStrRef>
          </c:cat>
          <c:val>
            <c:numRef>
              <c:f>Sheet1!$C$2:$C$9</c:f>
              <c:numCache>
                <c:formatCode>General</c:formatCode>
                <c:ptCount val="8"/>
                <c:pt idx="0">
                  <c:v>268.6</c:v>
                </c:pt>
                <c:pt idx="1">
                  <c:v>24.7</c:v>
                </c:pt>
                <c:pt idx="2">
                  <c:v>21.6</c:v>
                </c:pt>
                <c:pt idx="3">
                  <c:v>6.3</c:v>
                </c:pt>
                <c:pt idx="4">
                  <c:v>9.3</c:v>
                </c:pt>
                <c:pt idx="5">
                  <c:v>0.0</c:v>
                </c:pt>
                <c:pt idx="6">
                  <c:v>3.1</c:v>
                </c:pt>
                <c:pt idx="7">
                  <c:v>0.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092.93</a:t>
                    </a:r>
                  </a:p>
                </c:rich>
              </c:tx>
              <c:dLblPos val="t"/>
              <c:showLegendKey val="0"/>
              <c:showVal val="1"/>
              <c:showCatName val="0"/>
              <c:showSerName val="0"/>
              <c:showPercent val="0"/>
              <c:showBubbleSize val="0"/>
            </c:dLbl>
            <c:dLbl>
              <c:idx val="1"/>
              <c:tx>
                <c:rich>
                  <a:bodyPr/>
                  <a:lstStyle/>
                  <a:p>
                    <a:r>
                      <a:t>1171.46</a:t>
                    </a:r>
                  </a:p>
                </c:rich>
              </c:tx>
              <c:dLblPos val="t"/>
              <c:showLegendKey val="0"/>
              <c:showVal val="1"/>
              <c:showCatName val="0"/>
              <c:showSerName val="0"/>
              <c:showPercent val="0"/>
              <c:showBubbleSize val="0"/>
            </c:dLbl>
            <c:dLbl>
              <c:idx val="2"/>
              <c:tx>
                <c:rich>
                  <a:bodyPr/>
                  <a:lstStyle/>
                  <a:p>
                    <a:r>
                      <a:t>1168.93</a:t>
                    </a:r>
                  </a:p>
                </c:rich>
              </c:tx>
              <c:dLblPos val="t"/>
              <c:showLegendKey val="0"/>
              <c:showVal val="1"/>
              <c:showCatName val="0"/>
              <c:showSerName val="0"/>
              <c:showPercent val="0"/>
              <c:showBubbleSize val="0"/>
            </c:dLbl>
            <c:dLbl>
              <c:idx val="3"/>
              <c:tx>
                <c:rich>
                  <a:bodyPr/>
                  <a:lstStyle/>
                  <a:p>
                    <a:r>
                      <a:t>1180.25</a:t>
                    </a:r>
                  </a:p>
                </c:rich>
              </c:tx>
              <c:dLblPos val="t"/>
              <c:showLegendKey val="0"/>
              <c:showVal val="1"/>
              <c:showCatName val="0"/>
              <c:showSerName val="0"/>
              <c:showPercent val="0"/>
              <c:showBubbleSize val="0"/>
            </c:dLbl>
            <c:dLbl>
              <c:idx val="4"/>
              <c:tx>
                <c:rich>
                  <a:bodyPr/>
                  <a:lstStyle/>
                  <a:p>
                    <a:r>
                      <a:t>9981.33</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055.42</a:t>
                    </a:r>
                  </a:p>
                </c:rich>
              </c:tx>
              <c:dLblPos val="t"/>
              <c:showLegendKey val="0"/>
              <c:showVal val="1"/>
              <c:showCatName val="0"/>
              <c:showSerName val="0"/>
              <c:showPercent val="0"/>
              <c:showBubbleSize val="0"/>
            </c:dLbl>
            <c:dLbl>
              <c:idx val="7"/>
              <c:tx>
                <c:rich>
                  <a:bodyPr/>
                  <a:lstStyle/>
                  <a:p>
                    <a:r>
                      <a:t>894.27</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Adults</c:v>
                  </c:pt>
                  <c:pt idx="2">
                    <c:v>Sunscreen Kids</c:v>
                  </c:pt>
                  <c:pt idx="4">
                    <c:v>Sunscreen | O.O.S</c:v>
                  </c:pt>
                  <c:pt idx="6">
                    <c:v>Tanning Adults</c:v>
                  </c:pt>
                </c:lvl>
              </c:multiLvlStrCache>
            </c:multiLvlStrRef>
          </c:cat>
          <c:val>
            <c:numRef>
              <c:f>Sheet1!$D$2:$D$9</c:f>
              <c:numCache>
                <c:formatCode>General</c:formatCode>
                <c:ptCount val="8"/>
                <c:pt idx="0">
                  <c:v>2092.9344</c:v>
                </c:pt>
                <c:pt idx="1">
                  <c:v>1171.4626</c:v>
                </c:pt>
                <c:pt idx="2">
                  <c:v>1168.932</c:v>
                </c:pt>
                <c:pt idx="3">
                  <c:v>1180.2495</c:v>
                </c:pt>
                <c:pt idx="4">
                  <c:v>9981.3312</c:v>
                </c:pt>
                <c:pt idx="5">
                  <c:v>0.0</c:v>
                </c:pt>
                <c:pt idx="6">
                  <c:v>1055.4155</c:v>
                </c:pt>
                <c:pt idx="7">
                  <c:v>894.273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230.2</c:v>
                </c:pt>
                <c:pt idx="1">
                  <c:v>27.0</c:v>
                </c:pt>
                <c:pt idx="2">
                  <c:v>26.1</c:v>
                </c:pt>
                <c:pt idx="3">
                  <c:v>6.7</c:v>
                </c:pt>
                <c:pt idx="4">
                  <c:v>8.3</c:v>
                </c:pt>
                <c:pt idx="5">
                  <c:v>0.3</c:v>
                </c:pt>
                <c:pt idx="6">
                  <c:v>8.2</c:v>
                </c:pt>
                <c:pt idx="7">
                  <c:v>1.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26.11</a:t>
                    </a:r>
                  </a:p>
                </c:rich>
              </c:tx>
              <c:dLblPos val="t"/>
              <c:showLegendKey val="0"/>
              <c:showVal val="1"/>
              <c:showCatName val="0"/>
              <c:showSerName val="0"/>
              <c:showPercent val="0"/>
              <c:showBubbleSize val="0"/>
            </c:dLbl>
            <c:dLbl>
              <c:idx val="1"/>
              <c:tx>
                <c:rich>
                  <a:bodyPr/>
                  <a:lstStyle/>
                  <a:p>
                    <a:r>
                      <a:t>1225.55</a:t>
                    </a:r>
                  </a:p>
                </c:rich>
              </c:tx>
              <c:dLblPos val="t"/>
              <c:showLegendKey val="0"/>
              <c:showVal val="1"/>
              <c:showCatName val="0"/>
              <c:showSerName val="0"/>
              <c:showPercent val="0"/>
              <c:showBubbleSize val="0"/>
            </c:dLbl>
            <c:dLbl>
              <c:idx val="2"/>
              <c:tx>
                <c:rich>
                  <a:bodyPr/>
                  <a:lstStyle/>
                  <a:p>
                    <a:r>
                      <a:t>1066.37</a:t>
                    </a:r>
                  </a:p>
                </c:rich>
              </c:tx>
              <c:dLblPos val="t"/>
              <c:showLegendKey val="0"/>
              <c:showVal val="1"/>
              <c:showCatName val="0"/>
              <c:showSerName val="0"/>
              <c:showPercent val="0"/>
              <c:showBubbleSize val="0"/>
            </c:dLbl>
            <c:dLbl>
              <c:idx val="3"/>
              <c:tx>
                <c:rich>
                  <a:bodyPr/>
                  <a:lstStyle/>
                  <a:p>
                    <a:r>
                      <a:t>1115.49</a:t>
                    </a:r>
                  </a:p>
                </c:rich>
              </c:tx>
              <c:dLblPos val="t"/>
              <c:showLegendKey val="0"/>
              <c:showVal val="1"/>
              <c:showCatName val="0"/>
              <c:showSerName val="0"/>
              <c:showPercent val="0"/>
              <c:showBubbleSize val="0"/>
            </c:dLbl>
            <c:dLbl>
              <c:idx val="4"/>
              <c:tx>
                <c:rich>
                  <a:bodyPr/>
                  <a:lstStyle/>
                  <a:p>
                    <a:r>
                      <a:t>1175.47</a:t>
                    </a:r>
                  </a:p>
                </c:rich>
              </c:tx>
              <c:dLblPos val="t"/>
              <c:showLegendKey val="0"/>
              <c:showVal val="1"/>
              <c:showCatName val="0"/>
              <c:showSerName val="0"/>
              <c:showPercent val="0"/>
              <c:showBubbleSize val="0"/>
            </c:dLbl>
            <c:dLbl>
              <c:idx val="5"/>
              <c:tx>
                <c:rich>
                  <a:bodyPr/>
                  <a:lstStyle/>
                  <a:p>
                    <a:r>
                      <a:t>974.75</a:t>
                    </a:r>
                  </a:p>
                </c:rich>
              </c:tx>
              <c:dLblPos val="t"/>
              <c:showLegendKey val="0"/>
              <c:showVal val="1"/>
              <c:showCatName val="0"/>
              <c:showSerName val="0"/>
              <c:showPercent val="0"/>
              <c:showBubbleSize val="0"/>
            </c:dLbl>
            <c:dLbl>
              <c:idx val="6"/>
              <c:tx>
                <c:rich>
                  <a:bodyPr/>
                  <a:lstStyle/>
                  <a:p>
                    <a:r>
                      <a:t>631.14</a:t>
                    </a:r>
                  </a:p>
                </c:rich>
              </c:tx>
              <c:dLblPos val="t"/>
              <c:showLegendKey val="0"/>
              <c:showVal val="1"/>
              <c:showCatName val="0"/>
              <c:showSerName val="0"/>
              <c:showPercent val="0"/>
              <c:showBubbleSize val="0"/>
            </c:dLbl>
            <c:dLbl>
              <c:idx val="7"/>
              <c:tx>
                <c:rich>
                  <a:bodyPr/>
                  <a:lstStyle/>
                  <a:p>
                    <a:r>
                      <a:t>424.46</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426.1102</c:v>
                </c:pt>
                <c:pt idx="1">
                  <c:v>1225.5521</c:v>
                </c:pt>
                <c:pt idx="2">
                  <c:v>1066.3696</c:v>
                </c:pt>
                <c:pt idx="3">
                  <c:v>1115.49</c:v>
                </c:pt>
                <c:pt idx="4">
                  <c:v>1175.4741</c:v>
                </c:pt>
                <c:pt idx="5">
                  <c:v>974.7475</c:v>
                </c:pt>
                <c:pt idx="6">
                  <c:v>631.1431</c:v>
                </c:pt>
                <c:pt idx="7">
                  <c:v>424.45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229.5</c:v>
                </c:pt>
                <c:pt idx="1">
                  <c:v>24.0</c:v>
                </c:pt>
                <c:pt idx="2">
                  <c:v>24.6</c:v>
                </c:pt>
                <c:pt idx="3">
                  <c:v>6.7</c:v>
                </c:pt>
                <c:pt idx="4">
                  <c:v>5.3</c:v>
                </c:pt>
                <c:pt idx="5">
                  <c:v>0.4</c:v>
                </c:pt>
                <c:pt idx="6">
                  <c:v>3.3</c:v>
                </c:pt>
                <c:pt idx="7">
                  <c:v>1.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50.27</a:t>
                    </a:r>
                  </a:p>
                </c:rich>
              </c:tx>
              <c:dLblPos val="t"/>
              <c:showLegendKey val="0"/>
              <c:showVal val="1"/>
              <c:showCatName val="0"/>
              <c:showSerName val="0"/>
              <c:showPercent val="0"/>
              <c:showBubbleSize val="0"/>
            </c:dLbl>
            <c:dLbl>
              <c:idx val="1"/>
              <c:tx>
                <c:rich>
                  <a:bodyPr/>
                  <a:lstStyle/>
                  <a:p>
                    <a:r>
                      <a:t>1171.87</a:t>
                    </a:r>
                  </a:p>
                </c:rich>
              </c:tx>
              <c:dLblPos val="t"/>
              <c:showLegendKey val="0"/>
              <c:showVal val="1"/>
              <c:showCatName val="0"/>
              <c:showSerName val="0"/>
              <c:showPercent val="0"/>
              <c:showBubbleSize val="0"/>
            </c:dLbl>
            <c:dLbl>
              <c:idx val="2"/>
              <c:tx>
                <c:rich>
                  <a:bodyPr/>
                  <a:lstStyle/>
                  <a:p>
                    <a:r>
                      <a:t>1119.7</a:t>
                    </a:r>
                  </a:p>
                </c:rich>
              </c:tx>
              <c:dLblPos val="t"/>
              <c:showLegendKey val="0"/>
              <c:showVal val="1"/>
              <c:showCatName val="0"/>
              <c:showSerName val="0"/>
              <c:showPercent val="0"/>
              <c:showBubbleSize val="0"/>
            </c:dLbl>
            <c:dLbl>
              <c:idx val="3"/>
              <c:tx>
                <c:rich>
                  <a:bodyPr/>
                  <a:lstStyle/>
                  <a:p>
                    <a:r>
                      <a:t>1207.69</a:t>
                    </a:r>
                  </a:p>
                </c:rich>
              </c:tx>
              <c:dLblPos val="t"/>
              <c:showLegendKey val="0"/>
              <c:showVal val="1"/>
              <c:showCatName val="0"/>
              <c:showSerName val="0"/>
              <c:showPercent val="0"/>
              <c:showBubbleSize val="0"/>
            </c:dLbl>
            <c:dLbl>
              <c:idx val="4"/>
              <c:tx>
                <c:rich>
                  <a:bodyPr/>
                  <a:lstStyle/>
                  <a:p>
                    <a:r>
                      <a:t>1114.83</a:t>
                    </a:r>
                  </a:p>
                </c:rich>
              </c:tx>
              <c:dLblPos val="t"/>
              <c:showLegendKey val="0"/>
              <c:showVal val="1"/>
              <c:showCatName val="0"/>
              <c:showSerName val="0"/>
              <c:showPercent val="0"/>
              <c:showBubbleSize val="0"/>
            </c:dLbl>
            <c:dLbl>
              <c:idx val="5"/>
              <c:tx>
                <c:rich>
                  <a:bodyPr/>
                  <a:lstStyle/>
                  <a:p>
                    <a:r>
                      <a:t>949.65</a:t>
                    </a:r>
                  </a:p>
                </c:rich>
              </c:tx>
              <c:dLblPos val="t"/>
              <c:showLegendKey val="0"/>
              <c:showVal val="1"/>
              <c:showCatName val="0"/>
              <c:showSerName val="0"/>
              <c:showPercent val="0"/>
              <c:showBubbleSize val="0"/>
            </c:dLbl>
            <c:dLbl>
              <c:idx val="6"/>
              <c:tx>
                <c:rich>
                  <a:bodyPr/>
                  <a:lstStyle/>
                  <a:p>
                    <a:r>
                      <a:t>560.45</a:t>
                    </a:r>
                  </a:p>
                </c:rich>
              </c:tx>
              <c:dLblPos val="t"/>
              <c:showLegendKey val="0"/>
              <c:showVal val="1"/>
              <c:showCatName val="0"/>
              <c:showSerName val="0"/>
              <c:showPercent val="0"/>
              <c:showBubbleSize val="0"/>
            </c:dLbl>
            <c:dLbl>
              <c:idx val="7"/>
              <c:tx>
                <c:rich>
                  <a:bodyPr/>
                  <a:lstStyle/>
                  <a:p>
                    <a:r>
                      <a:t>433.25</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650.2656</c:v>
                </c:pt>
                <c:pt idx="1">
                  <c:v>1171.8741</c:v>
                </c:pt>
                <c:pt idx="2">
                  <c:v>1119.7041</c:v>
                </c:pt>
                <c:pt idx="3">
                  <c:v>1207.6943</c:v>
                </c:pt>
                <c:pt idx="4">
                  <c:v>1114.8275</c:v>
                </c:pt>
                <c:pt idx="5">
                  <c:v>949.6544</c:v>
                </c:pt>
                <c:pt idx="6">
                  <c:v>560.4546</c:v>
                </c:pt>
                <c:pt idx="7">
                  <c:v>433.252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219.5</c:v>
                </c:pt>
                <c:pt idx="1">
                  <c:v>31.1</c:v>
                </c:pt>
                <c:pt idx="2">
                  <c:v>23.2</c:v>
                </c:pt>
                <c:pt idx="3">
                  <c:v>7.9</c:v>
                </c:pt>
                <c:pt idx="4">
                  <c:v>5.9</c:v>
                </c:pt>
                <c:pt idx="5">
                  <c:v>0.7</c:v>
                </c:pt>
                <c:pt idx="6">
                  <c:v>3.9</c:v>
                </c:pt>
                <c:pt idx="7">
                  <c:v>1.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65.94</a:t>
                    </a:r>
                  </a:p>
                </c:rich>
              </c:tx>
              <c:dLblPos val="t"/>
              <c:showLegendKey val="0"/>
              <c:showVal val="1"/>
              <c:showCatName val="0"/>
              <c:showSerName val="0"/>
              <c:showPercent val="0"/>
              <c:showBubbleSize val="0"/>
            </c:dLbl>
            <c:dLbl>
              <c:idx val="1"/>
              <c:tx>
                <c:rich>
                  <a:bodyPr/>
                  <a:lstStyle/>
                  <a:p>
                    <a:r>
                      <a:t>1255.51</a:t>
                    </a:r>
                  </a:p>
                </c:rich>
              </c:tx>
              <c:dLblPos val="t"/>
              <c:showLegendKey val="0"/>
              <c:showVal val="1"/>
              <c:showCatName val="0"/>
              <c:showSerName val="0"/>
              <c:showPercent val="0"/>
              <c:showBubbleSize val="0"/>
            </c:dLbl>
            <c:dLbl>
              <c:idx val="2"/>
              <c:tx>
                <c:rich>
                  <a:bodyPr/>
                  <a:lstStyle/>
                  <a:p>
                    <a:r>
                      <a:t>1145.37</a:t>
                    </a:r>
                  </a:p>
                </c:rich>
              </c:tx>
              <c:dLblPos val="t"/>
              <c:showLegendKey val="0"/>
              <c:showVal val="1"/>
              <c:showCatName val="0"/>
              <c:showSerName val="0"/>
              <c:showPercent val="0"/>
              <c:showBubbleSize val="0"/>
            </c:dLbl>
            <c:dLbl>
              <c:idx val="3"/>
              <c:tx>
                <c:rich>
                  <a:bodyPr/>
                  <a:lstStyle/>
                  <a:p>
                    <a:r>
                      <a:t>1293.88</a:t>
                    </a:r>
                  </a:p>
                </c:rich>
              </c:tx>
              <c:dLblPos val="t"/>
              <c:showLegendKey val="0"/>
              <c:showVal val="1"/>
              <c:showCatName val="0"/>
              <c:showSerName val="0"/>
              <c:showPercent val="0"/>
              <c:showBubbleSize val="0"/>
            </c:dLbl>
            <c:dLbl>
              <c:idx val="4"/>
              <c:tx>
                <c:rich>
                  <a:bodyPr/>
                  <a:lstStyle/>
                  <a:p>
                    <a:r>
                      <a:t>1094.98</a:t>
                    </a:r>
                  </a:p>
                </c:rich>
              </c:tx>
              <c:dLblPos val="t"/>
              <c:showLegendKey val="0"/>
              <c:showVal val="1"/>
              <c:showCatName val="0"/>
              <c:showSerName val="0"/>
              <c:showPercent val="0"/>
              <c:showBubbleSize val="0"/>
            </c:dLbl>
            <c:dLbl>
              <c:idx val="5"/>
              <c:tx>
                <c:rich>
                  <a:bodyPr/>
                  <a:lstStyle/>
                  <a:p>
                    <a:r>
                      <a:t>951.14</a:t>
                    </a:r>
                  </a:p>
                </c:rich>
              </c:tx>
              <c:dLblPos val="t"/>
              <c:showLegendKey val="0"/>
              <c:showVal val="1"/>
              <c:showCatName val="0"/>
              <c:showSerName val="0"/>
              <c:showPercent val="0"/>
              <c:showBubbleSize val="0"/>
            </c:dLbl>
            <c:dLbl>
              <c:idx val="6"/>
              <c:tx>
                <c:rich>
                  <a:bodyPr/>
                  <a:lstStyle/>
                  <a:p>
                    <a:r>
                      <a:t>556.78</a:t>
                    </a:r>
                  </a:p>
                </c:rich>
              </c:tx>
              <c:dLblPos val="t"/>
              <c:showLegendKey val="0"/>
              <c:showVal val="1"/>
              <c:showCatName val="0"/>
              <c:showSerName val="0"/>
              <c:showPercent val="0"/>
              <c:showBubbleSize val="0"/>
            </c:dLbl>
            <c:dLbl>
              <c:idx val="7"/>
              <c:tx>
                <c:rich>
                  <a:bodyPr/>
                  <a:lstStyle/>
                  <a:p>
                    <a:r>
                      <a:t>448.95</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665.943</c:v>
                </c:pt>
                <c:pt idx="1">
                  <c:v>1255.5078</c:v>
                </c:pt>
                <c:pt idx="2">
                  <c:v>1145.3687</c:v>
                </c:pt>
                <c:pt idx="3">
                  <c:v>1293.8791</c:v>
                </c:pt>
                <c:pt idx="4">
                  <c:v>1094.9781</c:v>
                </c:pt>
                <c:pt idx="5">
                  <c:v>951.136</c:v>
                </c:pt>
                <c:pt idx="6">
                  <c:v>556.7827</c:v>
                </c:pt>
                <c:pt idx="7">
                  <c:v>448.950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162.9</c:v>
                </c:pt>
                <c:pt idx="1">
                  <c:v>24.4</c:v>
                </c:pt>
                <c:pt idx="2">
                  <c:v>16.5</c:v>
                </c:pt>
                <c:pt idx="3">
                  <c:v>5.6</c:v>
                </c:pt>
                <c:pt idx="4">
                  <c:v>4.0</c:v>
                </c:pt>
                <c:pt idx="5">
                  <c:v>0.4</c:v>
                </c:pt>
                <c:pt idx="6">
                  <c:v>3.0</c:v>
                </c:pt>
                <c:pt idx="7">
                  <c:v>0.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20.38</a:t>
                    </a:r>
                  </a:p>
                </c:rich>
              </c:tx>
              <c:dLblPos val="t"/>
              <c:showLegendKey val="0"/>
              <c:showVal val="1"/>
              <c:showCatName val="0"/>
              <c:showSerName val="0"/>
              <c:showPercent val="0"/>
              <c:showBubbleSize val="0"/>
            </c:dLbl>
            <c:dLbl>
              <c:idx val="1"/>
              <c:tx>
                <c:rich>
                  <a:bodyPr/>
                  <a:lstStyle/>
                  <a:p>
                    <a:r>
                      <a:t>1300.56</a:t>
                    </a:r>
                  </a:p>
                </c:rich>
              </c:tx>
              <c:dLblPos val="t"/>
              <c:showLegendKey val="0"/>
              <c:showVal val="1"/>
              <c:showCatName val="0"/>
              <c:showSerName val="0"/>
              <c:showPercent val="0"/>
              <c:showBubbleSize val="0"/>
            </c:dLbl>
            <c:dLbl>
              <c:idx val="2"/>
              <c:tx>
                <c:rich>
                  <a:bodyPr/>
                  <a:lstStyle/>
                  <a:p>
                    <a:r>
                      <a:t>1211.63</a:t>
                    </a:r>
                  </a:p>
                </c:rich>
              </c:tx>
              <c:dLblPos val="t"/>
              <c:showLegendKey val="0"/>
              <c:showVal val="1"/>
              <c:showCatName val="0"/>
              <c:showSerName val="0"/>
              <c:showPercent val="0"/>
              <c:showBubbleSize val="0"/>
            </c:dLbl>
            <c:dLbl>
              <c:idx val="3"/>
              <c:tx>
                <c:rich>
                  <a:bodyPr/>
                  <a:lstStyle/>
                  <a:p>
                    <a:r>
                      <a:t>1311.64</a:t>
                    </a:r>
                  </a:p>
                </c:rich>
              </c:tx>
              <c:dLblPos val="t"/>
              <c:showLegendKey val="0"/>
              <c:showVal val="1"/>
              <c:showCatName val="0"/>
              <c:showSerName val="0"/>
              <c:showPercent val="0"/>
              <c:showBubbleSize val="0"/>
            </c:dLbl>
            <c:dLbl>
              <c:idx val="4"/>
              <c:tx>
                <c:rich>
                  <a:bodyPr/>
                  <a:lstStyle/>
                  <a:p>
                    <a:r>
                      <a:t>1142.43</a:t>
                    </a:r>
                  </a:p>
                </c:rich>
              </c:tx>
              <c:dLblPos val="t"/>
              <c:showLegendKey val="0"/>
              <c:showVal val="1"/>
              <c:showCatName val="0"/>
              <c:showSerName val="0"/>
              <c:showPercent val="0"/>
              <c:showBubbleSize val="0"/>
            </c:dLbl>
            <c:dLbl>
              <c:idx val="5"/>
              <c:tx>
                <c:rich>
                  <a:bodyPr/>
                  <a:lstStyle/>
                  <a:p>
                    <a:r>
                      <a:t>905.03</a:t>
                    </a:r>
                  </a:p>
                </c:rich>
              </c:tx>
              <c:dLblPos val="t"/>
              <c:showLegendKey val="0"/>
              <c:showVal val="1"/>
              <c:showCatName val="0"/>
              <c:showSerName val="0"/>
              <c:showPercent val="0"/>
              <c:showBubbleSize val="0"/>
            </c:dLbl>
            <c:dLbl>
              <c:idx val="6"/>
              <c:tx>
                <c:rich>
                  <a:bodyPr/>
                  <a:lstStyle/>
                  <a:p>
                    <a:r>
                      <a:t>579.33</a:t>
                    </a:r>
                  </a:p>
                </c:rich>
              </c:tx>
              <c:dLblPos val="t"/>
              <c:showLegendKey val="0"/>
              <c:showVal val="1"/>
              <c:showCatName val="0"/>
              <c:showSerName val="0"/>
              <c:showPercent val="0"/>
              <c:showBubbleSize val="0"/>
            </c:dLbl>
            <c:dLbl>
              <c:idx val="7"/>
              <c:tx>
                <c:rich>
                  <a:bodyPr/>
                  <a:lstStyle/>
                  <a:p>
                    <a:r>
                      <a:t>432.37</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620.3788</c:v>
                </c:pt>
                <c:pt idx="1">
                  <c:v>1300.564</c:v>
                </c:pt>
                <c:pt idx="2">
                  <c:v>1211.6323</c:v>
                </c:pt>
                <c:pt idx="3">
                  <c:v>1311.6402</c:v>
                </c:pt>
                <c:pt idx="4">
                  <c:v>1142.4345</c:v>
                </c:pt>
                <c:pt idx="5">
                  <c:v>905.0306</c:v>
                </c:pt>
                <c:pt idx="6">
                  <c:v>579.3304</c:v>
                </c:pt>
                <c:pt idx="7">
                  <c:v>432.374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1419.7</c:v>
                </c:pt>
                <c:pt idx="1">
                  <c:v>12.5</c:v>
                </c:pt>
                <c:pt idx="2">
                  <c:v>139.7</c:v>
                </c:pt>
                <c:pt idx="3">
                  <c:v>0.0</c:v>
                </c:pt>
                <c:pt idx="4">
                  <c:v>32.5</c:v>
                </c:pt>
                <c:pt idx="5">
                  <c:v>0.0</c:v>
                </c:pt>
                <c:pt idx="6">
                  <c:v>24.9</c:v>
                </c:pt>
                <c:pt idx="7">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88.72</a:t>
                    </a:r>
                  </a:p>
                </c:rich>
              </c:tx>
              <c:dLblPos val="t"/>
              <c:showLegendKey val="0"/>
              <c:showVal val="1"/>
              <c:showCatName val="0"/>
              <c:showSerName val="0"/>
              <c:showPercent val="0"/>
              <c:showBubbleSize val="0"/>
            </c:dLbl>
            <c:dLbl>
              <c:idx val="1"/>
              <c:tx>
                <c:rich>
                  <a:bodyPr/>
                  <a:lstStyle/>
                  <a:p>
                    <a:r>
                      <a:t>4025.53</a:t>
                    </a:r>
                  </a:p>
                </c:rich>
              </c:tx>
              <c:dLblPos val="t"/>
              <c:showLegendKey val="0"/>
              <c:showVal val="1"/>
              <c:showCatName val="0"/>
              <c:showSerName val="0"/>
              <c:showPercent val="0"/>
              <c:showBubbleSize val="0"/>
            </c:dLbl>
            <c:dLbl>
              <c:idx val="2"/>
              <c:tx>
                <c:rich>
                  <a:bodyPr/>
                  <a:lstStyle/>
                  <a:p>
                    <a:r>
                      <a:t>1129.52</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1116.29</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576.52</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688.7191</c:v>
                </c:pt>
                <c:pt idx="1">
                  <c:v>4025.5318</c:v>
                </c:pt>
                <c:pt idx="2">
                  <c:v>1129.5238</c:v>
                </c:pt>
                <c:pt idx="3">
                  <c:v>0.0</c:v>
                </c:pt>
                <c:pt idx="4">
                  <c:v>1116.2927</c:v>
                </c:pt>
                <c:pt idx="5">
                  <c:v>0.0</c:v>
                </c:pt>
                <c:pt idx="6">
                  <c:v>576.5214</c:v>
                </c:pt>
                <c:pt idx="7">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309.0</c:v>
                </c:pt>
                <c:pt idx="1">
                  <c:v>3.0</c:v>
                </c:pt>
                <c:pt idx="2">
                  <c:v>27.7</c:v>
                </c:pt>
                <c:pt idx="3">
                  <c:v>0.0</c:v>
                </c:pt>
                <c:pt idx="4">
                  <c:v>5.9</c:v>
                </c:pt>
                <c:pt idx="5">
                  <c:v>0.0</c:v>
                </c:pt>
                <c:pt idx="6">
                  <c:v>4.4</c:v>
                </c:pt>
                <c:pt idx="7">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720.68</a:t>
                    </a:r>
                  </a:p>
                </c:rich>
              </c:tx>
              <c:dLblPos val="t"/>
              <c:showLegendKey val="0"/>
              <c:showVal val="1"/>
              <c:showCatName val="0"/>
              <c:showSerName val="0"/>
              <c:showPercent val="0"/>
              <c:showBubbleSize val="0"/>
            </c:dLbl>
            <c:dLbl>
              <c:idx val="1"/>
              <c:tx>
                <c:rich>
                  <a:bodyPr/>
                  <a:lstStyle/>
                  <a:p>
                    <a:r>
                      <a:t>4341.9</a:t>
                    </a:r>
                  </a:p>
                </c:rich>
              </c:tx>
              <c:dLblPos val="t"/>
              <c:showLegendKey val="0"/>
              <c:showVal val="1"/>
              <c:showCatName val="0"/>
              <c:showSerName val="0"/>
              <c:showPercent val="0"/>
              <c:showBubbleSize val="0"/>
            </c:dLbl>
            <c:dLbl>
              <c:idx val="2"/>
              <c:tx>
                <c:rich>
                  <a:bodyPr/>
                  <a:lstStyle/>
                  <a:p>
                    <a:r>
                      <a:t>1113.21</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1077.75</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544.44</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720.6779</c:v>
                </c:pt>
                <c:pt idx="1">
                  <c:v>4341.905</c:v>
                </c:pt>
                <c:pt idx="2">
                  <c:v>1113.2074</c:v>
                </c:pt>
                <c:pt idx="3">
                  <c:v>0.0</c:v>
                </c:pt>
                <c:pt idx="4">
                  <c:v>1077.7548</c:v>
                </c:pt>
                <c:pt idx="5">
                  <c:v>0.0</c:v>
                </c:pt>
                <c:pt idx="6">
                  <c:v>544.4401</c:v>
                </c:pt>
                <c:pt idx="7">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Adults</c:v>
                  </c:pt>
                  <c:pt idx="2">
                    <c:v>Sunscreen Kids</c:v>
                  </c:pt>
                  <c:pt idx="4">
                    <c:v>Sunscreen | O.O.S</c:v>
                  </c:pt>
                  <c:pt idx="6">
                    <c:v>Tanning Adults</c:v>
                  </c:pt>
                </c:lvl>
              </c:multiLvlStrCache>
            </c:multiLvlStrRef>
          </c:cat>
          <c:val>
            <c:numRef>
              <c:f>Sheet1!$C$2:$C$9</c:f>
              <c:numCache>
                <c:formatCode>General</c:formatCode>
                <c:ptCount val="8"/>
                <c:pt idx="0">
                  <c:v>268.6</c:v>
                </c:pt>
                <c:pt idx="1">
                  <c:v>1.9</c:v>
                </c:pt>
                <c:pt idx="2">
                  <c:v>21.6</c:v>
                </c:pt>
                <c:pt idx="3">
                  <c:v>0.0</c:v>
                </c:pt>
                <c:pt idx="4">
                  <c:v>9.3</c:v>
                </c:pt>
                <c:pt idx="5">
                  <c:v>0.0</c:v>
                </c:pt>
                <c:pt idx="6">
                  <c:v>3.1</c:v>
                </c:pt>
                <c:pt idx="7">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092.93</a:t>
                    </a:r>
                  </a:p>
                </c:rich>
              </c:tx>
              <c:dLblPos val="t"/>
              <c:showLegendKey val="0"/>
              <c:showVal val="1"/>
              <c:showCatName val="0"/>
              <c:showSerName val="0"/>
              <c:showPercent val="0"/>
              <c:showBubbleSize val="0"/>
            </c:dLbl>
            <c:dLbl>
              <c:idx val="1"/>
              <c:tx>
                <c:rich>
                  <a:bodyPr/>
                  <a:lstStyle/>
                  <a:p>
                    <a:r>
                      <a:t>4279.46</a:t>
                    </a:r>
                  </a:p>
                </c:rich>
              </c:tx>
              <c:dLblPos val="t"/>
              <c:showLegendKey val="0"/>
              <c:showVal val="1"/>
              <c:showCatName val="0"/>
              <c:showSerName val="0"/>
              <c:showPercent val="0"/>
              <c:showBubbleSize val="0"/>
            </c:dLbl>
            <c:dLbl>
              <c:idx val="2"/>
              <c:tx>
                <c:rich>
                  <a:bodyPr/>
                  <a:lstStyle/>
                  <a:p>
                    <a:r>
                      <a:t>1168.93</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9981.33</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055.42</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Adults</c:v>
                  </c:pt>
                  <c:pt idx="2">
                    <c:v>Sunscreen Kids</c:v>
                  </c:pt>
                  <c:pt idx="4">
                    <c:v>Sunscreen | O.O.S</c:v>
                  </c:pt>
                  <c:pt idx="6">
                    <c:v>Tanning Adults</c:v>
                  </c:pt>
                </c:lvl>
              </c:multiLvlStrCache>
            </c:multiLvlStrRef>
          </c:cat>
          <c:val>
            <c:numRef>
              <c:f>Sheet1!$D$2:$D$9</c:f>
              <c:numCache>
                <c:formatCode>General</c:formatCode>
                <c:ptCount val="8"/>
                <c:pt idx="0">
                  <c:v>2092.9344</c:v>
                </c:pt>
                <c:pt idx="1">
                  <c:v>4279.4598</c:v>
                </c:pt>
                <c:pt idx="2">
                  <c:v>1168.932</c:v>
                </c:pt>
                <c:pt idx="3">
                  <c:v>0.0</c:v>
                </c:pt>
                <c:pt idx="4">
                  <c:v>9981.3312</c:v>
                </c:pt>
                <c:pt idx="5">
                  <c:v>0.0</c:v>
                </c:pt>
                <c:pt idx="6">
                  <c:v>1055.4155</c:v>
                </c:pt>
                <c:pt idx="7">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230.2</c:v>
                </c:pt>
                <c:pt idx="1">
                  <c:v>2.2</c:v>
                </c:pt>
                <c:pt idx="2">
                  <c:v>26.1</c:v>
                </c:pt>
                <c:pt idx="3">
                  <c:v>0.0</c:v>
                </c:pt>
                <c:pt idx="4">
                  <c:v>8.3</c:v>
                </c:pt>
                <c:pt idx="5">
                  <c:v>0.0</c:v>
                </c:pt>
                <c:pt idx="6">
                  <c:v>8.2</c:v>
                </c:pt>
                <c:pt idx="7">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26.11</a:t>
                    </a:r>
                  </a:p>
                </c:rich>
              </c:tx>
              <c:dLblPos val="t"/>
              <c:showLegendKey val="0"/>
              <c:showVal val="1"/>
              <c:showCatName val="0"/>
              <c:showSerName val="0"/>
              <c:showPercent val="0"/>
              <c:showBubbleSize val="0"/>
            </c:dLbl>
            <c:dLbl>
              <c:idx val="1"/>
              <c:tx>
                <c:rich>
                  <a:bodyPr/>
                  <a:lstStyle/>
                  <a:p>
                    <a:r>
                      <a:t>3103.44</a:t>
                    </a:r>
                  </a:p>
                </c:rich>
              </c:tx>
              <c:dLblPos val="t"/>
              <c:showLegendKey val="0"/>
              <c:showVal val="1"/>
              <c:showCatName val="0"/>
              <c:showSerName val="0"/>
              <c:showPercent val="0"/>
              <c:showBubbleSize val="0"/>
            </c:dLbl>
            <c:dLbl>
              <c:idx val="2"/>
              <c:tx>
                <c:rich>
                  <a:bodyPr/>
                  <a:lstStyle/>
                  <a:p>
                    <a:r>
                      <a:t>1066.37</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1175.47</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631.14</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426.1102</c:v>
                </c:pt>
                <c:pt idx="1">
                  <c:v>3103.4389</c:v>
                </c:pt>
                <c:pt idx="2">
                  <c:v>1066.3696</c:v>
                </c:pt>
                <c:pt idx="3">
                  <c:v>0.0</c:v>
                </c:pt>
                <c:pt idx="4">
                  <c:v>1175.4741</c:v>
                </c:pt>
                <c:pt idx="5">
                  <c:v>0.0</c:v>
                </c:pt>
                <c:pt idx="6">
                  <c:v>631.1431</c:v>
                </c:pt>
                <c:pt idx="7">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C34D664B-A339-4EDB-A30F-0B01BE22E0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32DFBEF8-806C-43C9-A2A6-CB142BF348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C2E7C3D0-4386-4654-B6CB-970F77A131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60DAB4E3-EE91-4ABD-8BBE-B399F266C4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C7A9CD2B-2B03-4223-BD22-33D9517B8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9A5C8B8E-3666-4648-9A75-209FAF23F2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C523FF48-FA5D-481F-AADA-D409958E45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7E5A120B-3543-4DCF-9C52-717F50B15A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660.1452</c:v>
                </c:pt>
                <c:pt idx="1">
                  <c:v>300.12</c:v>
                </c:pt>
                <c:pt idx="2">
                  <c:v>488.1643</c:v>
                </c:pt>
                <c:pt idx="3">
                  <c:v>210.3782</c:v>
                </c:pt>
                <c:pt idx="4">
                  <c:v>527.0556</c:v>
                </c:pt>
              </c:numCache>
            </c:numRef>
          </c:xVal>
          <c:yVal>
            <c:numRef>
              <c:f>Sheet1!$B$2:$B$6</c:f>
              <c:numCache>
                <c:formatCode>General</c:formatCode>
                <c:ptCount val="5"/>
                <c:pt idx="0">
                  <c:v>13.774</c:v>
                </c:pt>
                <c:pt idx="1">
                  <c:v>0.778</c:v>
                </c:pt>
                <c:pt idx="2">
                  <c:v>2.734</c:v>
                </c:pt>
                <c:pt idx="3">
                  <c:v>0.493</c:v>
                </c:pt>
                <c:pt idx="4">
                  <c:v>0.0</c:v>
                </c:pt>
              </c:numCache>
            </c:numRef>
          </c:yVal>
          <c:bubbleSize>
            <c:numRef>
              <c:f>Sheet1!$C$2:$C$6</c:f>
              <c:numCache>
                <c:formatCode>General</c:formatCode>
                <c:ptCount val="5"/>
                <c:pt idx="0">
                  <c:v>163716</c:v>
                </c:pt>
                <c:pt idx="1">
                  <c:v>127551</c:v>
                </c:pt>
                <c:pt idx="2">
                  <c:v>103979</c:v>
                </c:pt>
                <c:pt idx="3">
                  <c:v>32819</c:v>
                </c:pt>
                <c:pt idx="4">
                  <c:v>948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92.0"/>
          <c:min val="168.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229.5</c:v>
                </c:pt>
                <c:pt idx="1">
                  <c:v>1.8</c:v>
                </c:pt>
                <c:pt idx="2">
                  <c:v>24.6</c:v>
                </c:pt>
                <c:pt idx="3">
                  <c:v>0.0</c:v>
                </c:pt>
                <c:pt idx="4">
                  <c:v>5.3</c:v>
                </c:pt>
                <c:pt idx="5">
                  <c:v>0.0</c:v>
                </c:pt>
                <c:pt idx="6">
                  <c:v>3.3</c:v>
                </c:pt>
                <c:pt idx="7">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50.27</a:t>
                    </a:r>
                  </a:p>
                </c:rich>
              </c:tx>
              <c:dLblPos val="t"/>
              <c:showLegendKey val="0"/>
              <c:showVal val="1"/>
              <c:showCatName val="0"/>
              <c:showSerName val="0"/>
              <c:showPercent val="0"/>
              <c:showBubbleSize val="0"/>
            </c:dLbl>
            <c:dLbl>
              <c:idx val="1"/>
              <c:tx>
                <c:rich>
                  <a:bodyPr/>
                  <a:lstStyle/>
                  <a:p>
                    <a:r>
                      <a:t>4233.14</a:t>
                    </a:r>
                  </a:p>
                </c:rich>
              </c:tx>
              <c:dLblPos val="t"/>
              <c:showLegendKey val="0"/>
              <c:showVal val="1"/>
              <c:showCatName val="0"/>
              <c:showSerName val="0"/>
              <c:showPercent val="0"/>
              <c:showBubbleSize val="0"/>
            </c:dLbl>
            <c:dLbl>
              <c:idx val="2"/>
              <c:tx>
                <c:rich>
                  <a:bodyPr/>
                  <a:lstStyle/>
                  <a:p>
                    <a:r>
                      <a:t>1119.7</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1114.83</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560.45</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650.2656</c:v>
                </c:pt>
                <c:pt idx="1">
                  <c:v>4233.1399</c:v>
                </c:pt>
                <c:pt idx="2">
                  <c:v>1119.7041</c:v>
                </c:pt>
                <c:pt idx="3">
                  <c:v>0.0</c:v>
                </c:pt>
                <c:pt idx="4">
                  <c:v>1114.8275</c:v>
                </c:pt>
                <c:pt idx="5">
                  <c:v>0.0</c:v>
                </c:pt>
                <c:pt idx="6">
                  <c:v>560.4546</c:v>
                </c:pt>
                <c:pt idx="7">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219.5</c:v>
                </c:pt>
                <c:pt idx="1">
                  <c:v>2.0</c:v>
                </c:pt>
                <c:pt idx="2">
                  <c:v>23.2</c:v>
                </c:pt>
                <c:pt idx="3">
                  <c:v>0.0</c:v>
                </c:pt>
                <c:pt idx="4">
                  <c:v>5.9</c:v>
                </c:pt>
                <c:pt idx="5">
                  <c:v>0.0</c:v>
                </c:pt>
                <c:pt idx="6">
                  <c:v>3.9</c:v>
                </c:pt>
                <c:pt idx="7">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65.94</a:t>
                    </a:r>
                  </a:p>
                </c:rich>
              </c:tx>
              <c:dLblPos val="t"/>
              <c:showLegendKey val="0"/>
              <c:showVal val="1"/>
              <c:showCatName val="0"/>
              <c:showSerName val="0"/>
              <c:showPercent val="0"/>
              <c:showBubbleSize val="0"/>
            </c:dLbl>
            <c:dLbl>
              <c:idx val="1"/>
              <c:tx>
                <c:rich>
                  <a:bodyPr/>
                  <a:lstStyle/>
                  <a:p>
                    <a:r>
                      <a:t>4326.95</a:t>
                    </a:r>
                  </a:p>
                </c:rich>
              </c:tx>
              <c:dLblPos val="t"/>
              <c:showLegendKey val="0"/>
              <c:showVal val="1"/>
              <c:showCatName val="0"/>
              <c:showSerName val="0"/>
              <c:showPercent val="0"/>
              <c:showBubbleSize val="0"/>
            </c:dLbl>
            <c:dLbl>
              <c:idx val="2"/>
              <c:tx>
                <c:rich>
                  <a:bodyPr/>
                  <a:lstStyle/>
                  <a:p>
                    <a:r>
                      <a:t>1145.37</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1094.98</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556.78</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665.943</c:v>
                </c:pt>
                <c:pt idx="1">
                  <c:v>4326.949</c:v>
                </c:pt>
                <c:pt idx="2">
                  <c:v>1145.3687</c:v>
                </c:pt>
                <c:pt idx="3">
                  <c:v>0.0</c:v>
                </c:pt>
                <c:pt idx="4">
                  <c:v>1094.9781</c:v>
                </c:pt>
                <c:pt idx="5">
                  <c:v>0.0</c:v>
                </c:pt>
                <c:pt idx="6">
                  <c:v>556.7827</c:v>
                </c:pt>
                <c:pt idx="7">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Adults</c:v>
                  </c:pt>
                  <c:pt idx="2">
                    <c:v>Sunscreen Kids</c:v>
                  </c:pt>
                  <c:pt idx="4">
                    <c:v>Tanning Adults</c:v>
                  </c:pt>
                  <c:pt idx="6">
                    <c:v>After Sun Adults</c:v>
                  </c:pt>
                </c:lvl>
              </c:multiLvlStrCache>
            </c:multiLvlStrRef>
          </c:cat>
          <c:val>
            <c:numRef>
              <c:f>Sheet1!$C$2:$C$9</c:f>
              <c:numCache>
                <c:formatCode>General</c:formatCode>
                <c:ptCount val="8"/>
                <c:pt idx="0">
                  <c:v>162.9</c:v>
                </c:pt>
                <c:pt idx="1">
                  <c:v>1.5</c:v>
                </c:pt>
                <c:pt idx="2">
                  <c:v>16.5</c:v>
                </c:pt>
                <c:pt idx="3">
                  <c:v>0.0</c:v>
                </c:pt>
                <c:pt idx="4">
                  <c:v>4.0</c:v>
                </c:pt>
                <c:pt idx="5">
                  <c:v>0.0</c:v>
                </c:pt>
                <c:pt idx="6">
                  <c:v>3.0</c:v>
                </c:pt>
                <c:pt idx="7">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20.38</a:t>
                    </a:r>
                  </a:p>
                </c:rich>
              </c:tx>
              <c:dLblPos val="t"/>
              <c:showLegendKey val="0"/>
              <c:showVal val="1"/>
              <c:showCatName val="0"/>
              <c:showSerName val="0"/>
              <c:showPercent val="0"/>
              <c:showBubbleSize val="0"/>
            </c:dLbl>
            <c:dLbl>
              <c:idx val="1"/>
              <c:tx>
                <c:rich>
                  <a:bodyPr/>
                  <a:lstStyle/>
                  <a:p>
                    <a:r>
                      <a:t>4326.43</a:t>
                    </a:r>
                  </a:p>
                </c:rich>
              </c:tx>
              <c:dLblPos val="t"/>
              <c:showLegendKey val="0"/>
              <c:showVal val="1"/>
              <c:showCatName val="0"/>
              <c:showSerName val="0"/>
              <c:showPercent val="0"/>
              <c:showBubbleSize val="0"/>
            </c:dLbl>
            <c:dLbl>
              <c:idx val="2"/>
              <c:tx>
                <c:rich>
                  <a:bodyPr/>
                  <a:lstStyle/>
                  <a:p>
                    <a:r>
                      <a:t>1211.63</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1142.43</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579.33</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Adults</c:v>
                  </c:pt>
                  <c:pt idx="2">
                    <c:v>Sunscreen Kids</c:v>
                  </c:pt>
                  <c:pt idx="4">
                    <c:v>Tanning Adults</c:v>
                  </c:pt>
                  <c:pt idx="6">
                    <c:v>After Sun Adults</c:v>
                  </c:pt>
                </c:lvl>
              </c:multiLvlStrCache>
            </c:multiLvlStrRef>
          </c:cat>
          <c:val>
            <c:numRef>
              <c:f>Sheet1!$D$2:$D$9</c:f>
              <c:numCache>
                <c:formatCode>General</c:formatCode>
                <c:ptCount val="8"/>
                <c:pt idx="0">
                  <c:v>1620.3788</c:v>
                </c:pt>
                <c:pt idx="1">
                  <c:v>4326.4348</c:v>
                </c:pt>
                <c:pt idx="2">
                  <c:v>1211.6323</c:v>
                </c:pt>
                <c:pt idx="3">
                  <c:v>0.0</c:v>
                </c:pt>
                <c:pt idx="4">
                  <c:v>1142.4345</c:v>
                </c:pt>
                <c:pt idx="5">
                  <c:v>0.0</c:v>
                </c:pt>
                <c:pt idx="6">
                  <c:v>579.3304</c:v>
                </c:pt>
                <c:pt idx="7">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1003.4</c:v>
                </c:pt>
                <c:pt idx="1">
                  <c:v>195.4</c:v>
                </c:pt>
                <c:pt idx="2">
                  <c:v>411.0</c:v>
                </c:pt>
                <c:pt idx="3">
                  <c:v>0.0</c:v>
                </c:pt>
                <c:pt idx="4">
                  <c:v>152.7</c:v>
                </c:pt>
                <c:pt idx="5">
                  <c:v>51.0</c:v>
                </c:pt>
                <c:pt idx="6">
                  <c:v>32.4</c:v>
                </c:pt>
                <c:pt idx="7">
                  <c:v>13.3</c:v>
                </c:pt>
                <c:pt idx="8">
                  <c:v>24.9</c:v>
                </c:pt>
                <c:pt idx="9">
                  <c:v>9.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58.79</a:t>
                    </a:r>
                  </a:p>
                </c:rich>
              </c:tx>
              <c:dLblPos val="t"/>
              <c:showLegendKey val="0"/>
              <c:showVal val="1"/>
              <c:showCatName val="0"/>
              <c:showSerName val="0"/>
              <c:showPercent val="0"/>
              <c:showBubbleSize val="0"/>
            </c:dLbl>
            <c:dLbl>
              <c:idx val="1"/>
              <c:tx>
                <c:rich>
                  <a:bodyPr/>
                  <a:lstStyle/>
                  <a:p>
                    <a:r>
                      <a:t>1222.15</a:t>
                    </a:r>
                  </a:p>
                </c:rich>
              </c:tx>
              <c:dLblPos val="t"/>
              <c:showLegendKey val="0"/>
              <c:showVal val="1"/>
              <c:showCatName val="0"/>
              <c:showSerName val="0"/>
              <c:showPercent val="0"/>
              <c:showBubbleSize val="0"/>
            </c:dLbl>
            <c:dLbl>
              <c:idx val="2"/>
              <c:tx>
                <c:rich>
                  <a:bodyPr/>
                  <a:lstStyle/>
                  <a:p>
                    <a:r>
                      <a:t>4637.21</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1085.81</a:t>
                    </a:r>
                  </a:p>
                </c:rich>
              </c:tx>
              <c:dLblPos val="t"/>
              <c:showLegendKey val="0"/>
              <c:showVal val="1"/>
              <c:showCatName val="0"/>
              <c:showSerName val="0"/>
              <c:showPercent val="0"/>
              <c:showBubbleSize val="0"/>
            </c:dLbl>
            <c:dLbl>
              <c:idx val="5"/>
              <c:tx>
                <c:rich>
                  <a:bodyPr/>
                  <a:lstStyle/>
                  <a:p>
                    <a:r>
                      <a:t>1169.39</a:t>
                    </a:r>
                  </a:p>
                </c:rich>
              </c:tx>
              <c:dLblPos val="t"/>
              <c:showLegendKey val="0"/>
              <c:showVal val="1"/>
              <c:showCatName val="0"/>
              <c:showSerName val="0"/>
              <c:showPercent val="0"/>
              <c:showBubbleSize val="0"/>
            </c:dLbl>
            <c:dLbl>
              <c:idx val="6"/>
              <c:tx>
                <c:rich>
                  <a:bodyPr/>
                  <a:lstStyle/>
                  <a:p>
                    <a:r>
                      <a:t>1113.68</a:t>
                    </a:r>
                  </a:p>
                </c:rich>
              </c:tx>
              <c:dLblPos val="t"/>
              <c:showLegendKey val="0"/>
              <c:showVal val="1"/>
              <c:showCatName val="0"/>
              <c:showSerName val="0"/>
              <c:showPercent val="0"/>
              <c:showBubbleSize val="0"/>
            </c:dLbl>
            <c:dLbl>
              <c:idx val="7"/>
              <c:tx>
                <c:rich>
                  <a:bodyPr/>
                  <a:lstStyle/>
                  <a:p>
                    <a:r>
                      <a:t>1122.92</a:t>
                    </a:r>
                  </a:p>
                </c:rich>
              </c:tx>
              <c:dLblPos val="t"/>
              <c:showLegendKey val="0"/>
              <c:showVal val="1"/>
              <c:showCatName val="0"/>
              <c:showSerName val="0"/>
              <c:showPercent val="0"/>
              <c:showBubbleSize val="0"/>
            </c:dLbl>
            <c:dLbl>
              <c:idx val="8"/>
              <c:tx>
                <c:rich>
                  <a:bodyPr/>
                  <a:lstStyle/>
                  <a:p>
                    <a:r>
                      <a:t>574.66</a:t>
                    </a:r>
                  </a:p>
                </c:rich>
              </c:tx>
              <c:dLblPos val="t"/>
              <c:showLegendKey val="0"/>
              <c:showVal val="1"/>
              <c:showCatName val="0"/>
              <c:showSerName val="0"/>
              <c:showPercent val="0"/>
              <c:showBubbleSize val="0"/>
            </c:dLbl>
            <c:dLbl>
              <c:idx val="9"/>
              <c:tx>
                <c:rich>
                  <a:bodyPr/>
                  <a:lstStyle/>
                  <a:p>
                    <a:r>
                      <a:t>675.82</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358.7932</c:v>
                </c:pt>
                <c:pt idx="1">
                  <c:v>1222.1485</c:v>
                </c:pt>
                <c:pt idx="2">
                  <c:v>4637.206</c:v>
                </c:pt>
                <c:pt idx="3">
                  <c:v>0.0</c:v>
                </c:pt>
                <c:pt idx="4">
                  <c:v>1085.8104</c:v>
                </c:pt>
                <c:pt idx="5">
                  <c:v>1169.3857</c:v>
                </c:pt>
                <c:pt idx="6">
                  <c:v>1113.6845</c:v>
                </c:pt>
                <c:pt idx="7">
                  <c:v>1122.9222</c:v>
                </c:pt>
                <c:pt idx="8">
                  <c:v>574.6601</c:v>
                </c:pt>
                <c:pt idx="9">
                  <c:v>675.815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215.1</c:v>
                </c:pt>
                <c:pt idx="1">
                  <c:v>42.6</c:v>
                </c:pt>
                <c:pt idx="2">
                  <c:v>93.5</c:v>
                </c:pt>
                <c:pt idx="3">
                  <c:v>0.0</c:v>
                </c:pt>
                <c:pt idx="4">
                  <c:v>29.6</c:v>
                </c:pt>
                <c:pt idx="5">
                  <c:v>11.6</c:v>
                </c:pt>
                <c:pt idx="6">
                  <c:v>5.9</c:v>
                </c:pt>
                <c:pt idx="7">
                  <c:v>2.3</c:v>
                </c:pt>
                <c:pt idx="8">
                  <c:v>4.4</c:v>
                </c:pt>
                <c:pt idx="9">
                  <c:v>1.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73.12</a:t>
                    </a:r>
                  </a:p>
                </c:rich>
              </c:tx>
              <c:dLblPos val="t"/>
              <c:showLegendKey val="0"/>
              <c:showVal val="1"/>
              <c:showCatName val="0"/>
              <c:showSerName val="0"/>
              <c:showPercent val="0"/>
              <c:showBubbleSize val="0"/>
            </c:dLbl>
            <c:dLbl>
              <c:idx val="1"/>
              <c:tx>
                <c:rich>
                  <a:bodyPr/>
                  <a:lstStyle/>
                  <a:p>
                    <a:r>
                      <a:t>1222.07</a:t>
                    </a:r>
                  </a:p>
                </c:rich>
              </c:tx>
              <c:dLblPos val="t"/>
              <c:showLegendKey val="0"/>
              <c:showVal val="1"/>
              <c:showCatName val="0"/>
              <c:showSerName val="0"/>
              <c:showPercent val="0"/>
              <c:showBubbleSize val="0"/>
            </c:dLbl>
            <c:dLbl>
              <c:idx val="2"/>
              <c:tx>
                <c:rich>
                  <a:bodyPr/>
                  <a:lstStyle/>
                  <a:p>
                    <a:r>
                      <a:t>4498.56</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1068.23</a:t>
                    </a:r>
                  </a:p>
                </c:rich>
              </c:tx>
              <c:dLblPos val="t"/>
              <c:showLegendKey val="0"/>
              <c:showVal val="1"/>
              <c:showCatName val="0"/>
              <c:showSerName val="0"/>
              <c:showPercent val="0"/>
              <c:showBubbleSize val="0"/>
            </c:dLbl>
            <c:dLbl>
              <c:idx val="5"/>
              <c:tx>
                <c:rich>
                  <a:bodyPr/>
                  <a:lstStyle/>
                  <a:p>
                    <a:r>
                      <a:t>1197.38</a:t>
                    </a:r>
                  </a:p>
                </c:rich>
              </c:tx>
              <c:dLblPos val="t"/>
              <c:showLegendKey val="0"/>
              <c:showVal val="1"/>
              <c:showCatName val="0"/>
              <c:showSerName val="0"/>
              <c:showPercent val="0"/>
              <c:showBubbleSize val="0"/>
            </c:dLbl>
            <c:dLbl>
              <c:idx val="6"/>
              <c:tx>
                <c:rich>
                  <a:bodyPr/>
                  <a:lstStyle/>
                  <a:p>
                    <a:r>
                      <a:t>1077.75</a:t>
                    </a:r>
                  </a:p>
                </c:rich>
              </c:tx>
              <c:dLblPos val="t"/>
              <c:showLegendKey val="0"/>
              <c:showVal val="1"/>
              <c:showCatName val="0"/>
              <c:showSerName val="0"/>
              <c:showPercent val="0"/>
              <c:showBubbleSize val="0"/>
            </c:dLbl>
            <c:dLbl>
              <c:idx val="7"/>
              <c:tx>
                <c:rich>
                  <a:bodyPr/>
                  <a:lstStyle/>
                  <a:p>
                    <a:r>
                      <a:t>1162.17</a:t>
                    </a:r>
                  </a:p>
                </c:rich>
              </c:tx>
              <c:dLblPos val="t"/>
              <c:showLegendKey val="0"/>
              <c:showVal val="1"/>
              <c:showCatName val="0"/>
              <c:showSerName val="0"/>
              <c:showPercent val="0"/>
              <c:showBubbleSize val="0"/>
            </c:dLbl>
            <c:dLbl>
              <c:idx val="8"/>
              <c:tx>
                <c:rich>
                  <a:bodyPr/>
                  <a:lstStyle/>
                  <a:p>
                    <a:r>
                      <a:t>542.44</a:t>
                    </a:r>
                  </a:p>
                </c:rich>
              </c:tx>
              <c:dLblPos val="t"/>
              <c:showLegendKey val="0"/>
              <c:showVal val="1"/>
              <c:showCatName val="0"/>
              <c:showSerName val="0"/>
              <c:showPercent val="0"/>
              <c:showBubbleSize val="0"/>
            </c:dLbl>
            <c:dLbl>
              <c:idx val="9"/>
              <c:tx>
                <c:rich>
                  <a:bodyPr/>
                  <a:lstStyle/>
                  <a:p>
                    <a:r>
                      <a:t>716.05</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373.1205</c:v>
                </c:pt>
                <c:pt idx="1">
                  <c:v>1222.0694</c:v>
                </c:pt>
                <c:pt idx="2">
                  <c:v>4498.5601</c:v>
                </c:pt>
                <c:pt idx="3">
                  <c:v>0.0</c:v>
                </c:pt>
                <c:pt idx="4">
                  <c:v>1068.2305</c:v>
                </c:pt>
                <c:pt idx="5">
                  <c:v>1197.3814</c:v>
                </c:pt>
                <c:pt idx="6">
                  <c:v>1077.7548</c:v>
                </c:pt>
                <c:pt idx="7">
                  <c:v>1162.1727</c:v>
                </c:pt>
                <c:pt idx="8">
                  <c:v>542.4386</c:v>
                </c:pt>
                <c:pt idx="9">
                  <c:v>716.045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Cosmetics</c:v>
                  </c:pt>
                  <c:pt idx="2">
                    <c:v>Sunscreen Derma</c:v>
                  </c:pt>
                  <c:pt idx="4">
                    <c:v>Sunscreen Sport</c:v>
                  </c:pt>
                  <c:pt idx="6">
                    <c:v>Sunscreen | O.O.S</c:v>
                  </c:pt>
                </c:lvl>
              </c:multiLvlStrCache>
            </c:multiLvlStrRef>
          </c:cat>
          <c:val>
            <c:numRef>
              <c:f>Sheet1!$C$2:$C$9</c:f>
              <c:numCache>
                <c:formatCode>General</c:formatCode>
                <c:ptCount val="8"/>
                <c:pt idx="0">
                  <c:v>146.4</c:v>
                </c:pt>
                <c:pt idx="1">
                  <c:v>26.1</c:v>
                </c:pt>
                <c:pt idx="2">
                  <c:v>126.2</c:v>
                </c:pt>
                <c:pt idx="3">
                  <c:v>0.0</c:v>
                </c:pt>
                <c:pt idx="4">
                  <c:v>20.2</c:v>
                </c:pt>
                <c:pt idx="5">
                  <c:v>6.2</c:v>
                </c:pt>
                <c:pt idx="6">
                  <c:v>9.3</c:v>
                </c:pt>
                <c:pt idx="7">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90.5</a:t>
                    </a:r>
                  </a:p>
                </c:rich>
              </c:tx>
              <c:dLblPos val="t"/>
              <c:showLegendKey val="0"/>
              <c:showVal val="1"/>
              <c:showCatName val="0"/>
              <c:showSerName val="0"/>
              <c:showPercent val="0"/>
              <c:showBubbleSize val="0"/>
            </c:dLbl>
            <c:dLbl>
              <c:idx val="1"/>
              <c:tx>
                <c:rich>
                  <a:bodyPr/>
                  <a:lstStyle/>
                  <a:p>
                    <a:r>
                      <a:t>1189.12</a:t>
                    </a:r>
                  </a:p>
                </c:rich>
              </c:tx>
              <c:dLblPos val="t"/>
              <c:showLegendKey val="0"/>
              <c:showVal val="1"/>
              <c:showCatName val="0"/>
              <c:showSerName val="0"/>
              <c:showPercent val="0"/>
              <c:showBubbleSize val="0"/>
            </c:dLbl>
            <c:dLbl>
              <c:idx val="2"/>
              <c:tx>
                <c:rich>
                  <a:bodyPr/>
                  <a:lstStyle/>
                  <a:p>
                    <a:r>
                      <a:t>5526.06</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1024.2</a:t>
                    </a:r>
                  </a:p>
                </c:rich>
              </c:tx>
              <c:dLblPos val="t"/>
              <c:showLegendKey val="0"/>
              <c:showVal val="1"/>
              <c:showCatName val="0"/>
              <c:showSerName val="0"/>
              <c:showPercent val="0"/>
              <c:showBubbleSize val="0"/>
            </c:dLbl>
            <c:dLbl>
              <c:idx val="5"/>
              <c:tx>
                <c:rich>
                  <a:bodyPr/>
                  <a:lstStyle/>
                  <a:p>
                    <a:r>
                      <a:t>1128.29</a:t>
                    </a:r>
                  </a:p>
                </c:rich>
              </c:tx>
              <c:dLblPos val="t"/>
              <c:showLegendKey val="0"/>
              <c:showVal val="1"/>
              <c:showCatName val="0"/>
              <c:showSerName val="0"/>
              <c:showPercent val="0"/>
              <c:showBubbleSize val="0"/>
            </c:dLbl>
            <c:dLbl>
              <c:idx val="6"/>
              <c:tx>
                <c:rich>
                  <a:bodyPr/>
                  <a:lstStyle/>
                  <a:p>
                    <a:r>
                      <a:t>9981.33</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Hawaiian Tropic</c:v>
                  </c:pt>
                  <c:pt idx="2">
                    <c:v>Total</c:v>
                  </c:pt>
                  <c:pt idx="3">
                    <c:v>Hawaiian Tropic</c:v>
                  </c:pt>
                  <c:pt idx="4">
                    <c:v>Total</c:v>
                  </c:pt>
                  <c:pt idx="5">
                    <c:v>Hawaiian Tropic</c:v>
                  </c:pt>
                  <c:pt idx="6">
                    <c:v>Total</c:v>
                  </c:pt>
                  <c:pt idx="7">
                    <c:v>Hawaiian Tropic</c:v>
                  </c:pt>
                </c:lvl>
                <c:lvl>
                  <c:pt idx="0">
                    <c:v>Sunscreen Cosmetics</c:v>
                  </c:pt>
                  <c:pt idx="2">
                    <c:v>Sunscreen Derma</c:v>
                  </c:pt>
                  <c:pt idx="4">
                    <c:v>Sunscreen Sport</c:v>
                  </c:pt>
                  <c:pt idx="6">
                    <c:v>Sunscreen | O.O.S</c:v>
                  </c:pt>
                </c:lvl>
              </c:multiLvlStrCache>
            </c:multiLvlStrRef>
          </c:cat>
          <c:val>
            <c:numRef>
              <c:f>Sheet1!$D$2:$D$9</c:f>
              <c:numCache>
                <c:formatCode>General</c:formatCode>
                <c:ptCount val="8"/>
                <c:pt idx="0">
                  <c:v>1390.5033</c:v>
                </c:pt>
                <c:pt idx="1">
                  <c:v>1189.1239</c:v>
                </c:pt>
                <c:pt idx="2">
                  <c:v>5526.0638</c:v>
                </c:pt>
                <c:pt idx="3">
                  <c:v>0.0</c:v>
                </c:pt>
                <c:pt idx="4">
                  <c:v>1024.1972</c:v>
                </c:pt>
                <c:pt idx="5">
                  <c:v>1128.2922</c:v>
                </c:pt>
                <c:pt idx="6">
                  <c:v>9981.3312</c:v>
                </c:pt>
                <c:pt idx="7">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195.6</c:v>
                </c:pt>
                <c:pt idx="1">
                  <c:v>35.5</c:v>
                </c:pt>
                <c:pt idx="2">
                  <c:v>31.9</c:v>
                </c:pt>
                <c:pt idx="3">
                  <c:v>0.0</c:v>
                </c:pt>
                <c:pt idx="4">
                  <c:v>29.3</c:v>
                </c:pt>
                <c:pt idx="5">
                  <c:v>10.4</c:v>
                </c:pt>
                <c:pt idx="6">
                  <c:v>8.3</c:v>
                </c:pt>
                <c:pt idx="7">
                  <c:v>3.0</c:v>
                </c:pt>
                <c:pt idx="8">
                  <c:v>8.2</c:v>
                </c:pt>
                <c:pt idx="9">
                  <c:v>2.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13.6</a:t>
                    </a:r>
                  </a:p>
                </c:rich>
              </c:tx>
              <c:dLblPos val="t"/>
              <c:showLegendKey val="0"/>
              <c:showVal val="1"/>
              <c:showCatName val="0"/>
              <c:showSerName val="0"/>
              <c:showPercent val="0"/>
              <c:showBubbleSize val="0"/>
            </c:dLbl>
            <c:dLbl>
              <c:idx val="1"/>
              <c:tx>
                <c:rich>
                  <a:bodyPr/>
                  <a:lstStyle/>
                  <a:p>
                    <a:r>
                      <a:t>1194.53</a:t>
                    </a:r>
                  </a:p>
                </c:rich>
              </c:tx>
              <c:dLblPos val="t"/>
              <c:showLegendKey val="0"/>
              <c:showVal val="1"/>
              <c:showCatName val="0"/>
              <c:showSerName val="0"/>
              <c:showPercent val="0"/>
              <c:showBubbleSize val="0"/>
            </c:dLbl>
            <c:dLbl>
              <c:idx val="2"/>
              <c:tx>
                <c:rich>
                  <a:bodyPr/>
                  <a:lstStyle/>
                  <a:p>
                    <a:r>
                      <a:t>3202.02</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1076.37</a:t>
                    </a:r>
                  </a:p>
                </c:rich>
              </c:tx>
              <c:dLblPos val="t"/>
              <c:showLegendKey val="0"/>
              <c:showVal val="1"/>
              <c:showCatName val="0"/>
              <c:showSerName val="0"/>
              <c:showPercent val="0"/>
              <c:showBubbleSize val="0"/>
            </c:dLbl>
            <c:dLbl>
              <c:idx val="5"/>
              <c:tx>
                <c:rich>
                  <a:bodyPr/>
                  <a:lstStyle/>
                  <a:p>
                    <a:r>
                      <a:t>1123.03</a:t>
                    </a:r>
                  </a:p>
                </c:rich>
              </c:tx>
              <c:dLblPos val="t"/>
              <c:showLegendKey val="0"/>
              <c:showVal val="1"/>
              <c:showCatName val="0"/>
              <c:showSerName val="0"/>
              <c:showPercent val="0"/>
              <c:showBubbleSize val="0"/>
            </c:dLbl>
            <c:dLbl>
              <c:idx val="6"/>
              <c:tx>
                <c:rich>
                  <a:bodyPr/>
                  <a:lstStyle/>
                  <a:p>
                    <a:r>
                      <a:t>1175.47</a:t>
                    </a:r>
                  </a:p>
                </c:rich>
              </c:tx>
              <c:dLblPos val="t"/>
              <c:showLegendKey val="0"/>
              <c:showVal val="1"/>
              <c:showCatName val="0"/>
              <c:showSerName val="0"/>
              <c:showPercent val="0"/>
              <c:showBubbleSize val="0"/>
            </c:dLbl>
            <c:dLbl>
              <c:idx val="7"/>
              <c:tx>
                <c:rich>
                  <a:bodyPr/>
                  <a:lstStyle/>
                  <a:p>
                    <a:r>
                      <a:t>1135.24</a:t>
                    </a:r>
                  </a:p>
                </c:rich>
              </c:tx>
              <c:dLblPos val="t"/>
              <c:showLegendKey val="0"/>
              <c:showVal val="1"/>
              <c:showCatName val="0"/>
              <c:showSerName val="0"/>
              <c:showPercent val="0"/>
              <c:showBubbleSize val="0"/>
            </c:dLbl>
            <c:dLbl>
              <c:idx val="8"/>
              <c:tx>
                <c:rich>
                  <a:bodyPr/>
                  <a:lstStyle/>
                  <a:p>
                    <a:r>
                      <a:t>631.14</a:t>
                    </a:r>
                  </a:p>
                </c:rich>
              </c:tx>
              <c:dLblPos val="t"/>
              <c:showLegendKey val="0"/>
              <c:showVal val="1"/>
              <c:showCatName val="0"/>
              <c:showSerName val="0"/>
              <c:showPercent val="0"/>
              <c:showBubbleSize val="0"/>
            </c:dLbl>
            <c:dLbl>
              <c:idx val="9"/>
              <c:tx>
                <c:rich>
                  <a:bodyPr/>
                  <a:lstStyle/>
                  <a:p>
                    <a:r>
                      <a:t>627.84</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313.604</c:v>
                </c:pt>
                <c:pt idx="1">
                  <c:v>1194.5335</c:v>
                </c:pt>
                <c:pt idx="2">
                  <c:v>3202.0178</c:v>
                </c:pt>
                <c:pt idx="3">
                  <c:v>0.0</c:v>
                </c:pt>
                <c:pt idx="4">
                  <c:v>1076.3668</c:v>
                </c:pt>
                <c:pt idx="5">
                  <c:v>1123.0324</c:v>
                </c:pt>
                <c:pt idx="6">
                  <c:v>1175.4741</c:v>
                </c:pt>
                <c:pt idx="7">
                  <c:v>1135.2434</c:v>
                </c:pt>
                <c:pt idx="8">
                  <c:v>631.1431</c:v>
                </c:pt>
                <c:pt idx="9">
                  <c:v>627.838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166.3</c:v>
                </c:pt>
                <c:pt idx="1">
                  <c:v>31.0</c:v>
                </c:pt>
                <c:pt idx="2">
                  <c:v>65.7</c:v>
                </c:pt>
                <c:pt idx="3">
                  <c:v>0.0</c:v>
                </c:pt>
                <c:pt idx="4">
                  <c:v>23.4</c:v>
                </c:pt>
                <c:pt idx="5">
                  <c:v>7.7</c:v>
                </c:pt>
                <c:pt idx="6">
                  <c:v>5.3</c:v>
                </c:pt>
                <c:pt idx="7">
                  <c:v>2.4</c:v>
                </c:pt>
                <c:pt idx="8">
                  <c:v>3.3</c:v>
                </c:pt>
                <c:pt idx="9">
                  <c:v>1.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28.3</a:t>
                    </a:r>
                  </a:p>
                </c:rich>
              </c:tx>
              <c:dLblPos val="t"/>
              <c:showLegendKey val="0"/>
              <c:showVal val="1"/>
              <c:showCatName val="0"/>
              <c:showSerName val="0"/>
              <c:showPercent val="0"/>
              <c:showBubbleSize val="0"/>
            </c:dLbl>
            <c:dLbl>
              <c:idx val="1"/>
              <c:tx>
                <c:rich>
                  <a:bodyPr/>
                  <a:lstStyle/>
                  <a:p>
                    <a:r>
                      <a:t>1203.47</a:t>
                    </a:r>
                  </a:p>
                </c:rich>
              </c:tx>
              <c:dLblPos val="t"/>
              <c:showLegendKey val="0"/>
              <c:showVal val="1"/>
              <c:showCatName val="0"/>
              <c:showSerName val="0"/>
              <c:showPercent val="0"/>
              <c:showBubbleSize val="0"/>
            </c:dLbl>
            <c:dLbl>
              <c:idx val="2"/>
              <c:tx>
                <c:rich>
                  <a:bodyPr/>
                  <a:lstStyle/>
                  <a:p>
                    <a:r>
                      <a:t>4651.87</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1049.5</a:t>
                    </a:r>
                  </a:p>
                </c:rich>
              </c:tx>
              <c:dLblPos val="t"/>
              <c:showLegendKey val="0"/>
              <c:showVal val="1"/>
              <c:showCatName val="0"/>
              <c:showSerName val="0"/>
              <c:showPercent val="0"/>
              <c:showBubbleSize val="0"/>
            </c:dLbl>
            <c:dLbl>
              <c:idx val="5"/>
              <c:tx>
                <c:rich>
                  <a:bodyPr/>
                  <a:lstStyle/>
                  <a:p>
                    <a:r>
                      <a:t>1167.11</a:t>
                    </a:r>
                  </a:p>
                </c:rich>
              </c:tx>
              <c:dLblPos val="t"/>
              <c:showLegendKey val="0"/>
              <c:showVal val="1"/>
              <c:showCatName val="0"/>
              <c:showSerName val="0"/>
              <c:showPercent val="0"/>
              <c:showBubbleSize val="0"/>
            </c:dLbl>
            <c:dLbl>
              <c:idx val="6"/>
              <c:tx>
                <c:rich>
                  <a:bodyPr/>
                  <a:lstStyle/>
                  <a:p>
                    <a:r>
                      <a:t>1111.4</a:t>
                    </a:r>
                  </a:p>
                </c:rich>
              </c:tx>
              <c:dLblPos val="t"/>
              <c:showLegendKey val="0"/>
              <c:showVal val="1"/>
              <c:showCatName val="0"/>
              <c:showSerName val="0"/>
              <c:showPercent val="0"/>
              <c:showBubbleSize val="0"/>
            </c:dLbl>
            <c:dLbl>
              <c:idx val="7"/>
              <c:tx>
                <c:rich>
                  <a:bodyPr/>
                  <a:lstStyle/>
                  <a:p>
                    <a:r>
                      <a:t>1110.6</a:t>
                    </a:r>
                  </a:p>
                </c:rich>
              </c:tx>
              <c:dLblPos val="t"/>
              <c:showLegendKey val="0"/>
              <c:showVal val="1"/>
              <c:showCatName val="0"/>
              <c:showSerName val="0"/>
              <c:showPercent val="0"/>
              <c:showBubbleSize val="0"/>
            </c:dLbl>
            <c:dLbl>
              <c:idx val="8"/>
              <c:tx>
                <c:rich>
                  <a:bodyPr/>
                  <a:lstStyle/>
                  <a:p>
                    <a:r>
                      <a:t>558.8</a:t>
                    </a:r>
                  </a:p>
                </c:rich>
              </c:tx>
              <c:dLblPos val="t"/>
              <c:showLegendKey val="0"/>
              <c:showVal val="1"/>
              <c:showCatName val="0"/>
              <c:showSerName val="0"/>
              <c:showPercent val="0"/>
              <c:showBubbleSize val="0"/>
            </c:dLbl>
            <c:dLbl>
              <c:idx val="9"/>
              <c:tx>
                <c:rich>
                  <a:bodyPr/>
                  <a:lstStyle/>
                  <a:p>
                    <a:r>
                      <a:t>706.36</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328.2992</c:v>
                </c:pt>
                <c:pt idx="1">
                  <c:v>1203.4741</c:v>
                </c:pt>
                <c:pt idx="2">
                  <c:v>4651.8679</c:v>
                </c:pt>
                <c:pt idx="3">
                  <c:v>0.0</c:v>
                </c:pt>
                <c:pt idx="4">
                  <c:v>1049.4967</c:v>
                </c:pt>
                <c:pt idx="5">
                  <c:v>1167.1128</c:v>
                </c:pt>
                <c:pt idx="6">
                  <c:v>1111.4049</c:v>
                </c:pt>
                <c:pt idx="7">
                  <c:v>1110.5969</c:v>
                </c:pt>
                <c:pt idx="8">
                  <c:v>558.8041</c:v>
                </c:pt>
                <c:pt idx="9">
                  <c:v>706.364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152.9</c:v>
                </c:pt>
                <c:pt idx="1">
                  <c:v>34.7</c:v>
                </c:pt>
                <c:pt idx="2">
                  <c:v>62.7</c:v>
                </c:pt>
                <c:pt idx="3">
                  <c:v>0.0</c:v>
                </c:pt>
                <c:pt idx="4">
                  <c:v>28.3</c:v>
                </c:pt>
                <c:pt idx="5">
                  <c:v>9.0</c:v>
                </c:pt>
                <c:pt idx="6">
                  <c:v>5.9</c:v>
                </c:pt>
                <c:pt idx="7">
                  <c:v>2.7</c:v>
                </c:pt>
                <c:pt idx="8">
                  <c:v>3.8</c:v>
                </c:pt>
                <c:pt idx="9">
                  <c:v>1.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40.34</a:t>
                    </a:r>
                  </a:p>
                </c:rich>
              </c:tx>
              <c:dLblPos val="t"/>
              <c:showLegendKey val="0"/>
              <c:showVal val="1"/>
              <c:showCatName val="0"/>
              <c:showSerName val="0"/>
              <c:showPercent val="0"/>
              <c:showBubbleSize val="0"/>
            </c:dLbl>
            <c:dLbl>
              <c:idx val="1"/>
              <c:tx>
                <c:rich>
                  <a:bodyPr/>
                  <a:lstStyle/>
                  <a:p>
                    <a:r>
                      <a:t>1261.11</a:t>
                    </a:r>
                  </a:p>
                </c:rich>
              </c:tx>
              <c:dLblPos val="t"/>
              <c:showLegendKey val="0"/>
              <c:showVal val="1"/>
              <c:showCatName val="0"/>
              <c:showSerName val="0"/>
              <c:showPercent val="0"/>
              <c:showBubbleSize val="0"/>
            </c:dLbl>
            <c:dLbl>
              <c:idx val="2"/>
              <c:tx>
                <c:rich>
                  <a:bodyPr/>
                  <a:lstStyle/>
                  <a:p>
                    <a:r>
                      <a:t>4720.11</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1124.43</a:t>
                    </a:r>
                  </a:p>
                </c:rich>
              </c:tx>
              <c:dLblPos val="t"/>
              <c:showLegendKey val="0"/>
              <c:showVal val="1"/>
              <c:showCatName val="0"/>
              <c:showSerName val="0"/>
              <c:showPercent val="0"/>
              <c:showBubbleSize val="0"/>
            </c:dLbl>
            <c:dLbl>
              <c:idx val="5"/>
              <c:tx>
                <c:rich>
                  <a:bodyPr/>
                  <a:lstStyle/>
                  <a:p>
                    <a:r>
                      <a:t>1197.46</a:t>
                    </a:r>
                  </a:p>
                </c:rich>
              </c:tx>
              <c:dLblPos val="t"/>
              <c:showLegendKey val="0"/>
              <c:showVal val="1"/>
              <c:showCatName val="0"/>
              <c:showSerName val="0"/>
              <c:showPercent val="0"/>
              <c:showBubbleSize val="0"/>
            </c:dLbl>
            <c:dLbl>
              <c:idx val="6"/>
              <c:tx>
                <c:rich>
                  <a:bodyPr/>
                  <a:lstStyle/>
                  <a:p>
                    <a:r>
                      <a:t>1093.24</a:t>
                    </a:r>
                  </a:p>
                </c:rich>
              </c:tx>
              <c:dLblPos val="t"/>
              <c:showLegendKey val="0"/>
              <c:showVal val="1"/>
              <c:showCatName val="0"/>
              <c:showSerName val="0"/>
              <c:showPercent val="0"/>
              <c:showBubbleSize val="0"/>
            </c:dLbl>
            <c:dLbl>
              <c:idx val="7"/>
              <c:tx>
                <c:rich>
                  <a:bodyPr/>
                  <a:lstStyle/>
                  <a:p>
                    <a:r>
                      <a:t>1141.92</a:t>
                    </a:r>
                  </a:p>
                </c:rich>
              </c:tx>
              <c:dLblPos val="t"/>
              <c:showLegendKey val="0"/>
              <c:showVal val="1"/>
              <c:showCatName val="0"/>
              <c:showSerName val="0"/>
              <c:showPercent val="0"/>
              <c:showBubbleSize val="0"/>
            </c:dLbl>
            <c:dLbl>
              <c:idx val="8"/>
              <c:tx>
                <c:rich>
                  <a:bodyPr/>
                  <a:lstStyle/>
                  <a:p>
                    <a:r>
                      <a:t>554.0</a:t>
                    </a:r>
                  </a:p>
                </c:rich>
              </c:tx>
              <c:dLblPos val="t"/>
              <c:showLegendKey val="0"/>
              <c:showVal val="1"/>
              <c:showCatName val="0"/>
              <c:showSerName val="0"/>
              <c:showPercent val="0"/>
              <c:showBubbleSize val="0"/>
            </c:dLbl>
            <c:dLbl>
              <c:idx val="9"/>
              <c:tx>
                <c:rich>
                  <a:bodyPr/>
                  <a:lstStyle/>
                  <a:p>
                    <a:r>
                      <a:t>705.32</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340.3395</c:v>
                </c:pt>
                <c:pt idx="1">
                  <c:v>1261.1089</c:v>
                </c:pt>
                <c:pt idx="2">
                  <c:v>4720.1137</c:v>
                </c:pt>
                <c:pt idx="3">
                  <c:v>0.0</c:v>
                </c:pt>
                <c:pt idx="4">
                  <c:v>1124.4307</c:v>
                </c:pt>
                <c:pt idx="5">
                  <c:v>1197.4555</c:v>
                </c:pt>
                <c:pt idx="6">
                  <c:v>1093.2354</c:v>
                </c:pt>
                <c:pt idx="7">
                  <c:v>1141.9157</c:v>
                </c:pt>
                <c:pt idx="8">
                  <c:v>553.9996</c:v>
                </c:pt>
                <c:pt idx="9">
                  <c:v>705.321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127.1</c:v>
                </c:pt>
                <c:pt idx="1">
                  <c:v>25.6</c:v>
                </c:pt>
                <c:pt idx="2">
                  <c:v>31.1</c:v>
                </c:pt>
                <c:pt idx="3">
                  <c:v>0.0</c:v>
                </c:pt>
                <c:pt idx="4">
                  <c:v>21.8</c:v>
                </c:pt>
                <c:pt idx="5">
                  <c:v>6.1</c:v>
                </c:pt>
                <c:pt idx="6">
                  <c:v>4.0</c:v>
                </c:pt>
                <c:pt idx="7">
                  <c:v>1.7</c:v>
                </c:pt>
                <c:pt idx="8">
                  <c:v>3.0</c:v>
                </c:pt>
                <c:pt idx="9">
                  <c:v>1.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38.8</a:t>
                    </a:r>
                  </a:p>
                </c:rich>
              </c:tx>
              <c:dLblPos val="t"/>
              <c:showLegendKey val="0"/>
              <c:showVal val="1"/>
              <c:showCatName val="0"/>
              <c:showSerName val="0"/>
              <c:showPercent val="0"/>
              <c:showBubbleSize val="0"/>
            </c:dLbl>
            <c:dLbl>
              <c:idx val="1"/>
              <c:tx>
                <c:rich>
                  <a:bodyPr/>
                  <a:lstStyle/>
                  <a:p>
                    <a:r>
                      <a:t>1269.78</a:t>
                    </a:r>
                  </a:p>
                </c:rich>
              </c:tx>
              <c:dLblPos val="t"/>
              <c:showLegendKey val="0"/>
              <c:showVal val="1"/>
              <c:showCatName val="0"/>
              <c:showSerName val="0"/>
              <c:showPercent val="0"/>
              <c:showBubbleSize val="0"/>
            </c:dLbl>
            <c:dLbl>
              <c:idx val="2"/>
              <c:tx>
                <c:rich>
                  <a:bodyPr/>
                  <a:lstStyle/>
                  <a:p>
                    <a:r>
                      <a:t>4061.27</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1182.9</a:t>
                    </a:r>
                  </a:p>
                </c:rich>
              </c:tx>
              <c:dLblPos val="t"/>
              <c:showLegendKey val="0"/>
              <c:showVal val="1"/>
              <c:showCatName val="0"/>
              <c:showSerName val="0"/>
              <c:showPercent val="0"/>
              <c:showBubbleSize val="0"/>
            </c:dLbl>
            <c:dLbl>
              <c:idx val="5"/>
              <c:tx>
                <c:rich>
                  <a:bodyPr/>
                  <a:lstStyle/>
                  <a:p>
                    <a:r>
                      <a:t>1206.64</a:t>
                    </a:r>
                  </a:p>
                </c:rich>
              </c:tx>
              <c:dLblPos val="t"/>
              <c:showLegendKey val="0"/>
              <c:showVal val="1"/>
              <c:showCatName val="0"/>
              <c:showSerName val="0"/>
              <c:showPercent val="0"/>
              <c:showBubbleSize val="0"/>
            </c:dLbl>
            <c:dLbl>
              <c:idx val="6"/>
              <c:tx>
                <c:rich>
                  <a:bodyPr/>
                  <a:lstStyle/>
                  <a:p>
                    <a:r>
                      <a:t>1142.43</a:t>
                    </a:r>
                  </a:p>
                </c:rich>
              </c:tx>
              <c:dLblPos val="t"/>
              <c:showLegendKey val="0"/>
              <c:showVal val="1"/>
              <c:showCatName val="0"/>
              <c:showSerName val="0"/>
              <c:showPercent val="0"/>
              <c:showBubbleSize val="0"/>
            </c:dLbl>
            <c:dLbl>
              <c:idx val="7"/>
              <c:tx>
                <c:rich>
                  <a:bodyPr/>
                  <a:lstStyle/>
                  <a:p>
                    <a:r>
                      <a:t>1129.8</a:t>
                    </a:r>
                  </a:p>
                </c:rich>
              </c:tx>
              <c:dLblPos val="t"/>
              <c:showLegendKey val="0"/>
              <c:showVal val="1"/>
              <c:showCatName val="0"/>
              <c:showSerName val="0"/>
              <c:showPercent val="0"/>
              <c:showBubbleSize val="0"/>
            </c:dLbl>
            <c:dLbl>
              <c:idx val="8"/>
              <c:tx>
                <c:rich>
                  <a:bodyPr/>
                  <a:lstStyle/>
                  <a:p>
                    <a:r>
                      <a:t>578.12</a:t>
                    </a:r>
                  </a:p>
                </c:rich>
              </c:tx>
              <c:dLblPos val="t"/>
              <c:showLegendKey val="0"/>
              <c:showVal val="1"/>
              <c:showCatName val="0"/>
              <c:showSerName val="0"/>
              <c:showPercent val="0"/>
              <c:showBubbleSize val="0"/>
            </c:dLbl>
            <c:dLbl>
              <c:idx val="9"/>
              <c:tx>
                <c:rich>
                  <a:bodyPr/>
                  <a:lstStyle/>
                  <a:p>
                    <a:r>
                      <a:t>710.32</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438.8029</c:v>
                </c:pt>
                <c:pt idx="1">
                  <c:v>1269.783</c:v>
                </c:pt>
                <c:pt idx="2">
                  <c:v>4061.2672</c:v>
                </c:pt>
                <c:pt idx="3">
                  <c:v>0.0</c:v>
                </c:pt>
                <c:pt idx="4">
                  <c:v>1182.8998</c:v>
                </c:pt>
                <c:pt idx="5">
                  <c:v>1206.636</c:v>
                </c:pt>
                <c:pt idx="6">
                  <c:v>1142.4345</c:v>
                </c:pt>
                <c:pt idx="7">
                  <c:v>1129.7966</c:v>
                </c:pt>
                <c:pt idx="8">
                  <c:v>578.1177</c:v>
                </c:pt>
                <c:pt idx="9">
                  <c:v>710.318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E4D6036B-7B03-434F-ABEA-5B3D7971C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6DE3421C-5965-44D3-878B-9FC6E09D16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C575EC7E-7350-4F31-8738-5C8746BB00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78E0A983-65A5-40C7-A87F-ED9CDA5E23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3CD366B9-771C-4E25-BD15-5D00E45EF8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96A887C7-AC07-474A-8D6C-181A3792F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460E8533-3909-46D0-8FCF-A05226F911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4CE003BB-EA88-4546-9E00-CD80185401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1.1783</c:v>
                </c:pt>
                <c:pt idx="1">
                  <c:v>217.6095</c:v>
                </c:pt>
                <c:pt idx="2">
                  <c:v>81.7656</c:v>
                </c:pt>
                <c:pt idx="3">
                  <c:v>72.9434</c:v>
                </c:pt>
                <c:pt idx="4">
                  <c:v>310.0258</c:v>
                </c:pt>
                <c:pt idx="5">
                  <c:v>125.9365</c:v>
                </c:pt>
              </c:numCache>
            </c:numRef>
          </c:xVal>
          <c:yVal>
            <c:numRef>
              <c:f>Sheet1!$B$2:$B$7</c:f>
              <c:numCache>
                <c:formatCode>General</c:formatCode>
                <c:ptCount val="6"/>
                <c:pt idx="0">
                  <c:v>1.311</c:v>
                </c:pt>
                <c:pt idx="1">
                  <c:v>1.046</c:v>
                </c:pt>
                <c:pt idx="2">
                  <c:v>0.533</c:v>
                </c:pt>
                <c:pt idx="3">
                  <c:v>0.573</c:v>
                </c:pt>
                <c:pt idx="4">
                  <c:v>1.702</c:v>
                </c:pt>
                <c:pt idx="5">
                  <c:v>0.514</c:v>
                </c:pt>
              </c:numCache>
            </c:numRef>
          </c:yVal>
          <c:bubbleSize>
            <c:numRef>
              <c:f>Sheet1!$C$2:$C$7</c:f>
              <c:numCache>
                <c:formatCode>General</c:formatCode>
                <c:ptCount val="6"/>
                <c:pt idx="0">
                  <c:v>12335062</c:v>
                </c:pt>
                <c:pt idx="1">
                  <c:v>6660591</c:v>
                </c:pt>
                <c:pt idx="2">
                  <c:v>2139478</c:v>
                </c:pt>
                <c:pt idx="3">
                  <c:v>763280</c:v>
                </c:pt>
                <c:pt idx="4">
                  <c:v>288634</c:v>
                </c:pt>
                <c:pt idx="5">
                  <c:v>7342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72.0"/>
          <c:min val="58.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1003.4</c:v>
                </c:pt>
                <c:pt idx="1">
                  <c:v>125.4</c:v>
                </c:pt>
                <c:pt idx="2">
                  <c:v>411.0</c:v>
                </c:pt>
                <c:pt idx="3">
                  <c:v>0.0</c:v>
                </c:pt>
                <c:pt idx="4">
                  <c:v>152.7</c:v>
                </c:pt>
                <c:pt idx="5">
                  <c:v>79.9</c:v>
                </c:pt>
                <c:pt idx="6">
                  <c:v>32.4</c:v>
                </c:pt>
                <c:pt idx="7">
                  <c:v>2.8</c:v>
                </c:pt>
                <c:pt idx="8">
                  <c:v>24.9</c:v>
                </c:pt>
                <c:pt idx="9">
                  <c:v>7.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58.79</a:t>
                    </a:r>
                  </a:p>
                </c:rich>
              </c:tx>
              <c:dLblPos val="t"/>
              <c:showLegendKey val="0"/>
              <c:showVal val="1"/>
              <c:showCatName val="0"/>
              <c:showSerName val="0"/>
              <c:showPercent val="0"/>
              <c:showBubbleSize val="0"/>
            </c:dLbl>
            <c:dLbl>
              <c:idx val="1"/>
              <c:tx>
                <c:rich>
                  <a:bodyPr/>
                  <a:lstStyle/>
                  <a:p>
                    <a:r>
                      <a:t>1208.83</a:t>
                    </a:r>
                  </a:p>
                </c:rich>
              </c:tx>
              <c:dLblPos val="t"/>
              <c:showLegendKey val="0"/>
              <c:showVal val="1"/>
              <c:showCatName val="0"/>
              <c:showSerName val="0"/>
              <c:showPercent val="0"/>
              <c:showBubbleSize val="0"/>
            </c:dLbl>
            <c:dLbl>
              <c:idx val="2"/>
              <c:tx>
                <c:rich>
                  <a:bodyPr/>
                  <a:lstStyle/>
                  <a:p>
                    <a:r>
                      <a:t>4637.21</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1085.81</a:t>
                    </a:r>
                  </a:p>
                </c:rich>
              </c:tx>
              <c:dLblPos val="t"/>
              <c:showLegendKey val="0"/>
              <c:showVal val="1"/>
              <c:showCatName val="0"/>
              <c:showSerName val="0"/>
              <c:showPercent val="0"/>
              <c:showBubbleSize val="0"/>
            </c:dLbl>
            <c:dLbl>
              <c:idx val="5"/>
              <c:tx>
                <c:rich>
                  <a:bodyPr/>
                  <a:lstStyle/>
                  <a:p>
                    <a:r>
                      <a:t>1229.41</a:t>
                    </a:r>
                  </a:p>
                </c:rich>
              </c:tx>
              <c:dLblPos val="t"/>
              <c:showLegendKey val="0"/>
              <c:showVal val="1"/>
              <c:showCatName val="0"/>
              <c:showSerName val="0"/>
              <c:showPercent val="0"/>
              <c:showBubbleSize val="0"/>
            </c:dLbl>
            <c:dLbl>
              <c:idx val="6"/>
              <c:tx>
                <c:rich>
                  <a:bodyPr/>
                  <a:lstStyle/>
                  <a:p>
                    <a:r>
                      <a:t>1113.68</a:t>
                    </a:r>
                  </a:p>
                </c:rich>
              </c:tx>
              <c:dLblPos val="t"/>
              <c:showLegendKey val="0"/>
              <c:showVal val="1"/>
              <c:showCatName val="0"/>
              <c:showSerName val="0"/>
              <c:showPercent val="0"/>
              <c:showBubbleSize val="0"/>
            </c:dLbl>
            <c:dLbl>
              <c:idx val="7"/>
              <c:tx>
                <c:rich>
                  <a:bodyPr/>
                  <a:lstStyle/>
                  <a:p>
                    <a:r>
                      <a:t>932.19</a:t>
                    </a:r>
                  </a:p>
                </c:rich>
              </c:tx>
              <c:dLblPos val="t"/>
              <c:showLegendKey val="0"/>
              <c:showVal val="1"/>
              <c:showCatName val="0"/>
              <c:showSerName val="0"/>
              <c:showPercent val="0"/>
              <c:showBubbleSize val="0"/>
            </c:dLbl>
            <c:dLbl>
              <c:idx val="8"/>
              <c:tx>
                <c:rich>
                  <a:bodyPr/>
                  <a:lstStyle/>
                  <a:p>
                    <a:r>
                      <a:t>574.66</a:t>
                    </a:r>
                  </a:p>
                </c:rich>
              </c:tx>
              <c:dLblPos val="t"/>
              <c:showLegendKey val="0"/>
              <c:showVal val="1"/>
              <c:showCatName val="0"/>
              <c:showSerName val="0"/>
              <c:showPercent val="0"/>
              <c:showBubbleSize val="0"/>
            </c:dLbl>
            <c:dLbl>
              <c:idx val="9"/>
              <c:tx>
                <c:rich>
                  <a:bodyPr/>
                  <a:lstStyle/>
                  <a:p>
                    <a:r>
                      <a:t>439.69</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358.7932</c:v>
                </c:pt>
                <c:pt idx="1">
                  <c:v>1208.834</c:v>
                </c:pt>
                <c:pt idx="2">
                  <c:v>4637.206</c:v>
                </c:pt>
                <c:pt idx="3">
                  <c:v>0.0</c:v>
                </c:pt>
                <c:pt idx="4">
                  <c:v>1085.8104</c:v>
                </c:pt>
                <c:pt idx="5">
                  <c:v>1229.4118</c:v>
                </c:pt>
                <c:pt idx="6">
                  <c:v>1113.6845</c:v>
                </c:pt>
                <c:pt idx="7">
                  <c:v>932.1867</c:v>
                </c:pt>
                <c:pt idx="8">
                  <c:v>574.6601</c:v>
                </c:pt>
                <c:pt idx="9">
                  <c:v>439.694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215.1</c:v>
                </c:pt>
                <c:pt idx="1">
                  <c:v>26.2</c:v>
                </c:pt>
                <c:pt idx="2">
                  <c:v>93.5</c:v>
                </c:pt>
                <c:pt idx="3">
                  <c:v>0.0</c:v>
                </c:pt>
                <c:pt idx="4">
                  <c:v>29.6</c:v>
                </c:pt>
                <c:pt idx="5">
                  <c:v>13.5</c:v>
                </c:pt>
                <c:pt idx="6">
                  <c:v>5.9</c:v>
                </c:pt>
                <c:pt idx="7">
                  <c:v>0.6</c:v>
                </c:pt>
                <c:pt idx="8">
                  <c:v>4.4</c:v>
                </c:pt>
                <c:pt idx="9">
                  <c:v>1.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73.12</a:t>
                    </a:r>
                  </a:p>
                </c:rich>
              </c:tx>
              <c:dLblPos val="t"/>
              <c:showLegendKey val="0"/>
              <c:showVal val="1"/>
              <c:showCatName val="0"/>
              <c:showSerName val="0"/>
              <c:showPercent val="0"/>
              <c:showBubbleSize val="0"/>
            </c:dLbl>
            <c:dLbl>
              <c:idx val="1"/>
              <c:tx>
                <c:rich>
                  <a:bodyPr/>
                  <a:lstStyle/>
                  <a:p>
                    <a:r>
                      <a:t>1163.91</a:t>
                    </a:r>
                  </a:p>
                </c:rich>
              </c:tx>
              <c:dLblPos val="t"/>
              <c:showLegendKey val="0"/>
              <c:showVal val="1"/>
              <c:showCatName val="0"/>
              <c:showSerName val="0"/>
              <c:showPercent val="0"/>
              <c:showBubbleSize val="0"/>
            </c:dLbl>
            <c:dLbl>
              <c:idx val="2"/>
              <c:tx>
                <c:rich>
                  <a:bodyPr/>
                  <a:lstStyle/>
                  <a:p>
                    <a:r>
                      <a:t>4498.56</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1068.23</a:t>
                    </a:r>
                  </a:p>
                </c:rich>
              </c:tx>
              <c:dLblPos val="t"/>
              <c:showLegendKey val="0"/>
              <c:showVal val="1"/>
              <c:showCatName val="0"/>
              <c:showSerName val="0"/>
              <c:showPercent val="0"/>
              <c:showBubbleSize val="0"/>
            </c:dLbl>
            <c:dLbl>
              <c:idx val="5"/>
              <c:tx>
                <c:rich>
                  <a:bodyPr/>
                  <a:lstStyle/>
                  <a:p>
                    <a:r>
                      <a:t>1223.35</a:t>
                    </a:r>
                  </a:p>
                </c:rich>
              </c:tx>
              <c:dLblPos val="t"/>
              <c:showLegendKey val="0"/>
              <c:showVal val="1"/>
              <c:showCatName val="0"/>
              <c:showSerName val="0"/>
              <c:showPercent val="0"/>
              <c:showBubbleSize val="0"/>
            </c:dLbl>
            <c:dLbl>
              <c:idx val="6"/>
              <c:tx>
                <c:rich>
                  <a:bodyPr/>
                  <a:lstStyle/>
                  <a:p>
                    <a:r>
                      <a:t>1077.75</a:t>
                    </a:r>
                  </a:p>
                </c:rich>
              </c:tx>
              <c:dLblPos val="t"/>
              <c:showLegendKey val="0"/>
              <c:showVal val="1"/>
              <c:showCatName val="0"/>
              <c:showSerName val="0"/>
              <c:showPercent val="0"/>
              <c:showBubbleSize val="0"/>
            </c:dLbl>
            <c:dLbl>
              <c:idx val="7"/>
              <c:tx>
                <c:rich>
                  <a:bodyPr/>
                  <a:lstStyle/>
                  <a:p>
                    <a:r>
                      <a:t>925.34</a:t>
                    </a:r>
                  </a:p>
                </c:rich>
              </c:tx>
              <c:dLblPos val="t"/>
              <c:showLegendKey val="0"/>
              <c:showVal val="1"/>
              <c:showCatName val="0"/>
              <c:showSerName val="0"/>
              <c:showPercent val="0"/>
              <c:showBubbleSize val="0"/>
            </c:dLbl>
            <c:dLbl>
              <c:idx val="8"/>
              <c:tx>
                <c:rich>
                  <a:bodyPr/>
                  <a:lstStyle/>
                  <a:p>
                    <a:r>
                      <a:t>542.44</a:t>
                    </a:r>
                  </a:p>
                </c:rich>
              </c:tx>
              <c:dLblPos val="t"/>
              <c:showLegendKey val="0"/>
              <c:showVal val="1"/>
              <c:showCatName val="0"/>
              <c:showSerName val="0"/>
              <c:showPercent val="0"/>
              <c:showBubbleSize val="0"/>
            </c:dLbl>
            <c:dLbl>
              <c:idx val="9"/>
              <c:tx>
                <c:rich>
                  <a:bodyPr/>
                  <a:lstStyle/>
                  <a:p>
                    <a:r>
                      <a:t>431.06</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373.1205</c:v>
                </c:pt>
                <c:pt idx="1">
                  <c:v>1163.913</c:v>
                </c:pt>
                <c:pt idx="2">
                  <c:v>4498.5601</c:v>
                </c:pt>
                <c:pt idx="3">
                  <c:v>0.0</c:v>
                </c:pt>
                <c:pt idx="4">
                  <c:v>1068.2305</c:v>
                </c:pt>
                <c:pt idx="5">
                  <c:v>1223.3518</c:v>
                </c:pt>
                <c:pt idx="6">
                  <c:v>1077.7548</c:v>
                </c:pt>
                <c:pt idx="7">
                  <c:v>925.3365</c:v>
                </c:pt>
                <c:pt idx="8">
                  <c:v>542.4386</c:v>
                </c:pt>
                <c:pt idx="9">
                  <c:v>431.06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Cosmetics</c:v>
                  </c:pt>
                  <c:pt idx="2">
                    <c:v>Sunscreen Derma</c:v>
                  </c:pt>
                  <c:pt idx="4">
                    <c:v>Sunscreen Sport</c:v>
                  </c:pt>
                  <c:pt idx="6">
                    <c:v>Sunscreen | O.O.S</c:v>
                  </c:pt>
                </c:lvl>
              </c:multiLvlStrCache>
            </c:multiLvlStrRef>
          </c:cat>
          <c:val>
            <c:numRef>
              <c:f>Sheet1!$C$2:$C$9</c:f>
              <c:numCache>
                <c:formatCode>General</c:formatCode>
                <c:ptCount val="8"/>
                <c:pt idx="0">
                  <c:v>146.4</c:v>
                </c:pt>
                <c:pt idx="1">
                  <c:v>20.5</c:v>
                </c:pt>
                <c:pt idx="2">
                  <c:v>126.2</c:v>
                </c:pt>
                <c:pt idx="3">
                  <c:v>0.0</c:v>
                </c:pt>
                <c:pt idx="4">
                  <c:v>20.2</c:v>
                </c:pt>
                <c:pt idx="5">
                  <c:v>10.9</c:v>
                </c:pt>
                <c:pt idx="6">
                  <c:v>9.3</c:v>
                </c:pt>
                <c:pt idx="7">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90.5</a:t>
                    </a:r>
                  </a:p>
                </c:rich>
              </c:tx>
              <c:dLblPos val="t"/>
              <c:showLegendKey val="0"/>
              <c:showVal val="1"/>
              <c:showCatName val="0"/>
              <c:showSerName val="0"/>
              <c:showPercent val="0"/>
              <c:showBubbleSize val="0"/>
            </c:dLbl>
            <c:dLbl>
              <c:idx val="1"/>
              <c:tx>
                <c:rich>
                  <a:bodyPr/>
                  <a:lstStyle/>
                  <a:p>
                    <a:r>
                      <a:t>1194.92</a:t>
                    </a:r>
                  </a:p>
                </c:rich>
              </c:tx>
              <c:dLblPos val="t"/>
              <c:showLegendKey val="0"/>
              <c:showVal val="1"/>
              <c:showCatName val="0"/>
              <c:showSerName val="0"/>
              <c:showPercent val="0"/>
              <c:showBubbleSize val="0"/>
            </c:dLbl>
            <c:dLbl>
              <c:idx val="2"/>
              <c:tx>
                <c:rich>
                  <a:bodyPr/>
                  <a:lstStyle/>
                  <a:p>
                    <a:r>
                      <a:t>5526.06</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1024.2</a:t>
                    </a:r>
                  </a:p>
                </c:rich>
              </c:tx>
              <c:dLblPos val="t"/>
              <c:showLegendKey val="0"/>
              <c:showVal val="1"/>
              <c:showCatName val="0"/>
              <c:showSerName val="0"/>
              <c:showPercent val="0"/>
              <c:showBubbleSize val="0"/>
            </c:dLbl>
            <c:dLbl>
              <c:idx val="5"/>
              <c:tx>
                <c:rich>
                  <a:bodyPr/>
                  <a:lstStyle/>
                  <a:p>
                    <a:r>
                      <a:t>1141.2</a:t>
                    </a:r>
                  </a:p>
                </c:rich>
              </c:tx>
              <c:dLblPos val="t"/>
              <c:showLegendKey val="0"/>
              <c:showVal val="1"/>
              <c:showCatName val="0"/>
              <c:showSerName val="0"/>
              <c:showPercent val="0"/>
              <c:showBubbleSize val="0"/>
            </c:dLbl>
            <c:dLbl>
              <c:idx val="6"/>
              <c:tx>
                <c:rich>
                  <a:bodyPr/>
                  <a:lstStyle/>
                  <a:p>
                    <a:r>
                      <a:t>9981.33</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anana Boat</c:v>
                  </c:pt>
                  <c:pt idx="2">
                    <c:v>Total</c:v>
                  </c:pt>
                  <c:pt idx="3">
                    <c:v>Banana Boat</c:v>
                  </c:pt>
                  <c:pt idx="4">
                    <c:v>Total</c:v>
                  </c:pt>
                  <c:pt idx="5">
                    <c:v>Banana Boat</c:v>
                  </c:pt>
                  <c:pt idx="6">
                    <c:v>Total</c:v>
                  </c:pt>
                  <c:pt idx="7">
                    <c:v>Banana Boat</c:v>
                  </c:pt>
                </c:lvl>
                <c:lvl>
                  <c:pt idx="0">
                    <c:v>Sunscreen Cosmetics</c:v>
                  </c:pt>
                  <c:pt idx="2">
                    <c:v>Sunscreen Derma</c:v>
                  </c:pt>
                  <c:pt idx="4">
                    <c:v>Sunscreen Sport</c:v>
                  </c:pt>
                  <c:pt idx="6">
                    <c:v>Sunscreen | O.O.S</c:v>
                  </c:pt>
                </c:lvl>
              </c:multiLvlStrCache>
            </c:multiLvlStrRef>
          </c:cat>
          <c:val>
            <c:numRef>
              <c:f>Sheet1!$D$2:$D$9</c:f>
              <c:numCache>
                <c:formatCode>General</c:formatCode>
                <c:ptCount val="8"/>
                <c:pt idx="0">
                  <c:v>1390.5033</c:v>
                </c:pt>
                <c:pt idx="1">
                  <c:v>1194.9216</c:v>
                </c:pt>
                <c:pt idx="2">
                  <c:v>5526.0638</c:v>
                </c:pt>
                <c:pt idx="3">
                  <c:v>0.0</c:v>
                </c:pt>
                <c:pt idx="4">
                  <c:v>1024.1972</c:v>
                </c:pt>
                <c:pt idx="5">
                  <c:v>1141.2</c:v>
                </c:pt>
                <c:pt idx="6">
                  <c:v>9981.3312</c:v>
                </c:pt>
                <c:pt idx="7">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195.6</c:v>
                </c:pt>
                <c:pt idx="1">
                  <c:v>19.0</c:v>
                </c:pt>
                <c:pt idx="2">
                  <c:v>31.9</c:v>
                </c:pt>
                <c:pt idx="3">
                  <c:v>0.0</c:v>
                </c:pt>
                <c:pt idx="4">
                  <c:v>29.3</c:v>
                </c:pt>
                <c:pt idx="5">
                  <c:v>14.8</c:v>
                </c:pt>
                <c:pt idx="6">
                  <c:v>8.3</c:v>
                </c:pt>
                <c:pt idx="7">
                  <c:v>0.3</c:v>
                </c:pt>
                <c:pt idx="8">
                  <c:v>8.2</c:v>
                </c:pt>
                <c:pt idx="9">
                  <c:v>1.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13.6</a:t>
                    </a:r>
                  </a:p>
                </c:rich>
              </c:tx>
              <c:dLblPos val="t"/>
              <c:showLegendKey val="0"/>
              <c:showVal val="1"/>
              <c:showCatName val="0"/>
              <c:showSerName val="0"/>
              <c:showPercent val="0"/>
              <c:showBubbleSize val="0"/>
            </c:dLbl>
            <c:dLbl>
              <c:idx val="1"/>
              <c:tx>
                <c:rich>
                  <a:bodyPr/>
                  <a:lstStyle/>
                  <a:p>
                    <a:r>
                      <a:t>1212.67</a:t>
                    </a:r>
                  </a:p>
                </c:rich>
              </c:tx>
              <c:dLblPos val="t"/>
              <c:showLegendKey val="0"/>
              <c:showVal val="1"/>
              <c:showCatName val="0"/>
              <c:showSerName val="0"/>
              <c:showPercent val="0"/>
              <c:showBubbleSize val="0"/>
            </c:dLbl>
            <c:dLbl>
              <c:idx val="2"/>
              <c:tx>
                <c:rich>
                  <a:bodyPr/>
                  <a:lstStyle/>
                  <a:p>
                    <a:r>
                      <a:t>3202.02</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1076.37</a:t>
                    </a:r>
                  </a:p>
                </c:rich>
              </c:tx>
              <c:dLblPos val="t"/>
              <c:showLegendKey val="0"/>
              <c:showVal val="1"/>
              <c:showCatName val="0"/>
              <c:showSerName val="0"/>
              <c:showPercent val="0"/>
              <c:showBubbleSize val="0"/>
            </c:dLbl>
            <c:dLbl>
              <c:idx val="5"/>
              <c:tx>
                <c:rich>
                  <a:bodyPr/>
                  <a:lstStyle/>
                  <a:p>
                    <a:r>
                      <a:t>1192.4</a:t>
                    </a:r>
                  </a:p>
                </c:rich>
              </c:tx>
              <c:dLblPos val="t"/>
              <c:showLegendKey val="0"/>
              <c:showVal val="1"/>
              <c:showCatName val="0"/>
              <c:showSerName val="0"/>
              <c:showPercent val="0"/>
              <c:showBubbleSize val="0"/>
            </c:dLbl>
            <c:dLbl>
              <c:idx val="6"/>
              <c:tx>
                <c:rich>
                  <a:bodyPr/>
                  <a:lstStyle/>
                  <a:p>
                    <a:r>
                      <a:t>1175.47</a:t>
                    </a:r>
                  </a:p>
                </c:rich>
              </c:tx>
              <c:dLblPos val="t"/>
              <c:showLegendKey val="0"/>
              <c:showVal val="1"/>
              <c:showCatName val="0"/>
              <c:showSerName val="0"/>
              <c:showPercent val="0"/>
              <c:showBubbleSize val="0"/>
            </c:dLbl>
            <c:dLbl>
              <c:idx val="7"/>
              <c:tx>
                <c:rich>
                  <a:bodyPr/>
                  <a:lstStyle/>
                  <a:p>
                    <a:r>
                      <a:t>974.75</a:t>
                    </a:r>
                  </a:p>
                </c:rich>
              </c:tx>
              <c:dLblPos val="t"/>
              <c:showLegendKey val="0"/>
              <c:showVal val="1"/>
              <c:showCatName val="0"/>
              <c:showSerName val="0"/>
              <c:showPercent val="0"/>
              <c:showBubbleSize val="0"/>
            </c:dLbl>
            <c:dLbl>
              <c:idx val="8"/>
              <c:tx>
                <c:rich>
                  <a:bodyPr/>
                  <a:lstStyle/>
                  <a:p>
                    <a:r>
                      <a:t>631.14</a:t>
                    </a:r>
                  </a:p>
                </c:rich>
              </c:tx>
              <c:dLblPos val="t"/>
              <c:showLegendKey val="0"/>
              <c:showVal val="1"/>
              <c:showCatName val="0"/>
              <c:showSerName val="0"/>
              <c:showPercent val="0"/>
              <c:showBubbleSize val="0"/>
            </c:dLbl>
            <c:dLbl>
              <c:idx val="9"/>
              <c:tx>
                <c:rich>
                  <a:bodyPr/>
                  <a:lstStyle/>
                  <a:p>
                    <a:r>
                      <a:t>424.46</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313.604</c:v>
                </c:pt>
                <c:pt idx="1">
                  <c:v>1212.6722</c:v>
                </c:pt>
                <c:pt idx="2">
                  <c:v>3202.0178</c:v>
                </c:pt>
                <c:pt idx="3">
                  <c:v>0.0</c:v>
                </c:pt>
                <c:pt idx="4">
                  <c:v>1076.3668</c:v>
                </c:pt>
                <c:pt idx="5">
                  <c:v>1192.3958</c:v>
                </c:pt>
                <c:pt idx="6">
                  <c:v>1175.4741</c:v>
                </c:pt>
                <c:pt idx="7">
                  <c:v>974.7475</c:v>
                </c:pt>
                <c:pt idx="8">
                  <c:v>631.1431</c:v>
                </c:pt>
                <c:pt idx="9">
                  <c:v>424.45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166.3</c:v>
                </c:pt>
                <c:pt idx="1">
                  <c:v>19.4</c:v>
                </c:pt>
                <c:pt idx="2">
                  <c:v>65.7</c:v>
                </c:pt>
                <c:pt idx="3">
                  <c:v>0.0</c:v>
                </c:pt>
                <c:pt idx="4">
                  <c:v>23.4</c:v>
                </c:pt>
                <c:pt idx="5">
                  <c:v>11.5</c:v>
                </c:pt>
                <c:pt idx="6">
                  <c:v>5.3</c:v>
                </c:pt>
                <c:pt idx="7">
                  <c:v>0.4</c:v>
                </c:pt>
                <c:pt idx="8">
                  <c:v>3.3</c:v>
                </c:pt>
                <c:pt idx="9">
                  <c:v>1.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28.3</a:t>
                    </a:r>
                  </a:p>
                </c:rich>
              </c:tx>
              <c:dLblPos val="t"/>
              <c:showLegendKey val="0"/>
              <c:showVal val="1"/>
              <c:showCatName val="0"/>
              <c:showSerName val="0"/>
              <c:showPercent val="0"/>
              <c:showBubbleSize val="0"/>
            </c:dLbl>
            <c:dLbl>
              <c:idx val="1"/>
              <c:tx>
                <c:rich>
                  <a:bodyPr/>
                  <a:lstStyle/>
                  <a:p>
                    <a:r>
                      <a:t>1170.47</a:t>
                    </a:r>
                  </a:p>
                </c:rich>
              </c:tx>
              <c:dLblPos val="t"/>
              <c:showLegendKey val="0"/>
              <c:showVal val="1"/>
              <c:showCatName val="0"/>
              <c:showSerName val="0"/>
              <c:showPercent val="0"/>
              <c:showBubbleSize val="0"/>
            </c:dLbl>
            <c:dLbl>
              <c:idx val="2"/>
              <c:tx>
                <c:rich>
                  <a:bodyPr/>
                  <a:lstStyle/>
                  <a:p>
                    <a:r>
                      <a:t>4651.87</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1049.5</a:t>
                    </a:r>
                  </a:p>
                </c:rich>
              </c:tx>
              <c:dLblPos val="t"/>
              <c:showLegendKey val="0"/>
              <c:showVal val="1"/>
              <c:showCatName val="0"/>
              <c:showSerName val="0"/>
              <c:showPercent val="0"/>
              <c:showBubbleSize val="0"/>
            </c:dLbl>
            <c:dLbl>
              <c:idx val="5"/>
              <c:tx>
                <c:rich>
                  <a:bodyPr/>
                  <a:lstStyle/>
                  <a:p>
                    <a:r>
                      <a:t>1201.04</a:t>
                    </a:r>
                  </a:p>
                </c:rich>
              </c:tx>
              <c:dLblPos val="t"/>
              <c:showLegendKey val="0"/>
              <c:showVal val="1"/>
              <c:showCatName val="0"/>
              <c:showSerName val="0"/>
              <c:showPercent val="0"/>
              <c:showBubbleSize val="0"/>
            </c:dLbl>
            <c:dLbl>
              <c:idx val="6"/>
              <c:tx>
                <c:rich>
                  <a:bodyPr/>
                  <a:lstStyle/>
                  <a:p>
                    <a:r>
                      <a:t>1111.4</a:t>
                    </a:r>
                  </a:p>
                </c:rich>
              </c:tx>
              <c:dLblPos val="t"/>
              <c:showLegendKey val="0"/>
              <c:showVal val="1"/>
              <c:showCatName val="0"/>
              <c:showSerName val="0"/>
              <c:showPercent val="0"/>
              <c:showBubbleSize val="0"/>
            </c:dLbl>
            <c:dLbl>
              <c:idx val="7"/>
              <c:tx>
                <c:rich>
                  <a:bodyPr/>
                  <a:lstStyle/>
                  <a:p>
                    <a:r>
                      <a:t>949.65</a:t>
                    </a:r>
                  </a:p>
                </c:rich>
              </c:tx>
              <c:dLblPos val="t"/>
              <c:showLegendKey val="0"/>
              <c:showVal val="1"/>
              <c:showCatName val="0"/>
              <c:showSerName val="0"/>
              <c:showPercent val="0"/>
              <c:showBubbleSize val="0"/>
            </c:dLbl>
            <c:dLbl>
              <c:idx val="8"/>
              <c:tx>
                <c:rich>
                  <a:bodyPr/>
                  <a:lstStyle/>
                  <a:p>
                    <a:r>
                      <a:t>558.8</a:t>
                    </a:r>
                  </a:p>
                </c:rich>
              </c:tx>
              <c:dLblPos val="t"/>
              <c:showLegendKey val="0"/>
              <c:showVal val="1"/>
              <c:showCatName val="0"/>
              <c:showSerName val="0"/>
              <c:showPercent val="0"/>
              <c:showBubbleSize val="0"/>
            </c:dLbl>
            <c:dLbl>
              <c:idx val="9"/>
              <c:tx>
                <c:rich>
                  <a:bodyPr/>
                  <a:lstStyle/>
                  <a:p>
                    <a:r>
                      <a:t>433.25</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328.2992</c:v>
                </c:pt>
                <c:pt idx="1">
                  <c:v>1170.4743</c:v>
                </c:pt>
                <c:pt idx="2">
                  <c:v>4651.8679</c:v>
                </c:pt>
                <c:pt idx="3">
                  <c:v>0.0</c:v>
                </c:pt>
                <c:pt idx="4">
                  <c:v>1049.4967</c:v>
                </c:pt>
                <c:pt idx="5">
                  <c:v>1201.0353</c:v>
                </c:pt>
                <c:pt idx="6">
                  <c:v>1111.4049</c:v>
                </c:pt>
                <c:pt idx="7">
                  <c:v>949.6544</c:v>
                </c:pt>
                <c:pt idx="8">
                  <c:v>558.8041</c:v>
                </c:pt>
                <c:pt idx="9">
                  <c:v>433.252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152.9</c:v>
                </c:pt>
                <c:pt idx="1">
                  <c:v>23.6</c:v>
                </c:pt>
                <c:pt idx="2">
                  <c:v>62.7</c:v>
                </c:pt>
                <c:pt idx="3">
                  <c:v>0.0</c:v>
                </c:pt>
                <c:pt idx="4">
                  <c:v>28.3</c:v>
                </c:pt>
                <c:pt idx="5">
                  <c:v>15.6</c:v>
                </c:pt>
                <c:pt idx="6">
                  <c:v>5.9</c:v>
                </c:pt>
                <c:pt idx="7">
                  <c:v>0.7</c:v>
                </c:pt>
                <c:pt idx="8">
                  <c:v>3.8</c:v>
                </c:pt>
                <c:pt idx="9">
                  <c:v>1.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40.34</a:t>
                    </a:r>
                  </a:p>
                </c:rich>
              </c:tx>
              <c:dLblPos val="t"/>
              <c:showLegendKey val="0"/>
              <c:showVal val="1"/>
              <c:showCatName val="0"/>
              <c:showSerName val="0"/>
              <c:showPercent val="0"/>
              <c:showBubbleSize val="0"/>
            </c:dLbl>
            <c:dLbl>
              <c:idx val="1"/>
              <c:tx>
                <c:rich>
                  <a:bodyPr/>
                  <a:lstStyle/>
                  <a:p>
                    <a:r>
                      <a:t>1247.75</a:t>
                    </a:r>
                  </a:p>
                </c:rich>
              </c:tx>
              <c:dLblPos val="t"/>
              <c:showLegendKey val="0"/>
              <c:showVal val="1"/>
              <c:showCatName val="0"/>
              <c:showSerName val="0"/>
              <c:showPercent val="0"/>
              <c:showBubbleSize val="0"/>
            </c:dLbl>
            <c:dLbl>
              <c:idx val="2"/>
              <c:tx>
                <c:rich>
                  <a:bodyPr/>
                  <a:lstStyle/>
                  <a:p>
                    <a:r>
                      <a:t>4720.11</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1124.43</a:t>
                    </a:r>
                  </a:p>
                </c:rich>
              </c:tx>
              <c:dLblPos val="t"/>
              <c:showLegendKey val="0"/>
              <c:showVal val="1"/>
              <c:showCatName val="0"/>
              <c:showSerName val="0"/>
              <c:showPercent val="0"/>
              <c:showBubbleSize val="0"/>
            </c:dLbl>
            <c:dLbl>
              <c:idx val="5"/>
              <c:tx>
                <c:rich>
                  <a:bodyPr/>
                  <a:lstStyle/>
                  <a:p>
                    <a:r>
                      <a:t>1290.61</a:t>
                    </a:r>
                  </a:p>
                </c:rich>
              </c:tx>
              <c:dLblPos val="t"/>
              <c:showLegendKey val="0"/>
              <c:showVal val="1"/>
              <c:showCatName val="0"/>
              <c:showSerName val="0"/>
              <c:showPercent val="0"/>
              <c:showBubbleSize val="0"/>
            </c:dLbl>
            <c:dLbl>
              <c:idx val="6"/>
              <c:tx>
                <c:rich>
                  <a:bodyPr/>
                  <a:lstStyle/>
                  <a:p>
                    <a:r>
                      <a:t>1093.24</a:t>
                    </a:r>
                  </a:p>
                </c:rich>
              </c:tx>
              <c:dLblPos val="t"/>
              <c:showLegendKey val="0"/>
              <c:showVal val="1"/>
              <c:showCatName val="0"/>
              <c:showSerName val="0"/>
              <c:showPercent val="0"/>
              <c:showBubbleSize val="0"/>
            </c:dLbl>
            <c:dLbl>
              <c:idx val="7"/>
              <c:tx>
                <c:rich>
                  <a:bodyPr/>
                  <a:lstStyle/>
                  <a:p>
                    <a:r>
                      <a:t>951.14</a:t>
                    </a:r>
                  </a:p>
                </c:rich>
              </c:tx>
              <c:dLblPos val="t"/>
              <c:showLegendKey val="0"/>
              <c:showVal val="1"/>
              <c:showCatName val="0"/>
              <c:showSerName val="0"/>
              <c:showPercent val="0"/>
              <c:showBubbleSize val="0"/>
            </c:dLbl>
            <c:dLbl>
              <c:idx val="8"/>
              <c:tx>
                <c:rich>
                  <a:bodyPr/>
                  <a:lstStyle/>
                  <a:p>
                    <a:r>
                      <a:t>554.0</a:t>
                    </a:r>
                  </a:p>
                </c:rich>
              </c:tx>
              <c:dLblPos val="t"/>
              <c:showLegendKey val="0"/>
              <c:showVal val="1"/>
              <c:showCatName val="0"/>
              <c:showSerName val="0"/>
              <c:showPercent val="0"/>
              <c:showBubbleSize val="0"/>
            </c:dLbl>
            <c:dLbl>
              <c:idx val="9"/>
              <c:tx>
                <c:rich>
                  <a:bodyPr/>
                  <a:lstStyle/>
                  <a:p>
                    <a:r>
                      <a:t>448.95</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340.3395</c:v>
                </c:pt>
                <c:pt idx="1">
                  <c:v>1247.7497</c:v>
                </c:pt>
                <c:pt idx="2">
                  <c:v>4720.1137</c:v>
                </c:pt>
                <c:pt idx="3">
                  <c:v>0.0</c:v>
                </c:pt>
                <c:pt idx="4">
                  <c:v>1124.4307</c:v>
                </c:pt>
                <c:pt idx="5">
                  <c:v>1290.6052</c:v>
                </c:pt>
                <c:pt idx="6">
                  <c:v>1093.2354</c:v>
                </c:pt>
                <c:pt idx="7">
                  <c:v>951.136</c:v>
                </c:pt>
                <c:pt idx="8">
                  <c:v>553.9996</c:v>
                </c:pt>
                <c:pt idx="9">
                  <c:v>448.950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127.1</c:v>
                </c:pt>
                <c:pt idx="1">
                  <c:v>16.6</c:v>
                </c:pt>
                <c:pt idx="2">
                  <c:v>31.1</c:v>
                </c:pt>
                <c:pt idx="3">
                  <c:v>0.0</c:v>
                </c:pt>
                <c:pt idx="4">
                  <c:v>21.8</c:v>
                </c:pt>
                <c:pt idx="5">
                  <c:v>13.5</c:v>
                </c:pt>
                <c:pt idx="6">
                  <c:v>4.0</c:v>
                </c:pt>
                <c:pt idx="7">
                  <c:v>0.4</c:v>
                </c:pt>
                <c:pt idx="8">
                  <c:v>3.0</c:v>
                </c:pt>
                <c:pt idx="9">
                  <c:v>0.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38.8</a:t>
                    </a:r>
                  </a:p>
                </c:rich>
              </c:tx>
              <c:dLblPos val="t"/>
              <c:showLegendKey val="0"/>
              <c:showVal val="1"/>
              <c:showCatName val="0"/>
              <c:showSerName val="0"/>
              <c:showPercent val="0"/>
              <c:showBubbleSize val="0"/>
            </c:dLbl>
            <c:dLbl>
              <c:idx val="1"/>
              <c:tx>
                <c:rich>
                  <a:bodyPr/>
                  <a:lstStyle/>
                  <a:p>
                    <a:r>
                      <a:t>1293.66</a:t>
                    </a:r>
                  </a:p>
                </c:rich>
              </c:tx>
              <c:dLblPos val="t"/>
              <c:showLegendKey val="0"/>
              <c:showVal val="1"/>
              <c:showCatName val="0"/>
              <c:showSerName val="0"/>
              <c:showPercent val="0"/>
              <c:showBubbleSize val="0"/>
            </c:dLbl>
            <c:dLbl>
              <c:idx val="2"/>
              <c:tx>
                <c:rich>
                  <a:bodyPr/>
                  <a:lstStyle/>
                  <a:p>
                    <a:r>
                      <a:t>4061.27</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1182.9</a:t>
                    </a:r>
                  </a:p>
                </c:rich>
              </c:tx>
              <c:dLblPos val="t"/>
              <c:showLegendKey val="0"/>
              <c:showVal val="1"/>
              <c:showCatName val="0"/>
              <c:showSerName val="0"/>
              <c:showPercent val="0"/>
              <c:showBubbleSize val="0"/>
            </c:dLbl>
            <c:dLbl>
              <c:idx val="5"/>
              <c:tx>
                <c:rich>
                  <a:bodyPr/>
                  <a:lstStyle/>
                  <a:p>
                    <a:r>
                      <a:t>1316.99</a:t>
                    </a:r>
                  </a:p>
                </c:rich>
              </c:tx>
              <c:dLblPos val="t"/>
              <c:showLegendKey val="0"/>
              <c:showVal val="1"/>
              <c:showCatName val="0"/>
              <c:showSerName val="0"/>
              <c:showPercent val="0"/>
              <c:showBubbleSize val="0"/>
            </c:dLbl>
            <c:dLbl>
              <c:idx val="6"/>
              <c:tx>
                <c:rich>
                  <a:bodyPr/>
                  <a:lstStyle/>
                  <a:p>
                    <a:r>
                      <a:t>1142.43</a:t>
                    </a:r>
                  </a:p>
                </c:rich>
              </c:tx>
              <c:dLblPos val="t"/>
              <c:showLegendKey val="0"/>
              <c:showVal val="1"/>
              <c:showCatName val="0"/>
              <c:showSerName val="0"/>
              <c:showPercent val="0"/>
              <c:showBubbleSize val="0"/>
            </c:dLbl>
            <c:dLbl>
              <c:idx val="7"/>
              <c:tx>
                <c:rich>
                  <a:bodyPr/>
                  <a:lstStyle/>
                  <a:p>
                    <a:r>
                      <a:t>905.03</a:t>
                    </a:r>
                  </a:p>
                </c:rich>
              </c:tx>
              <c:dLblPos val="t"/>
              <c:showLegendKey val="0"/>
              <c:showVal val="1"/>
              <c:showCatName val="0"/>
              <c:showSerName val="0"/>
              <c:showPercent val="0"/>
              <c:showBubbleSize val="0"/>
            </c:dLbl>
            <c:dLbl>
              <c:idx val="8"/>
              <c:tx>
                <c:rich>
                  <a:bodyPr/>
                  <a:lstStyle/>
                  <a:p>
                    <a:r>
                      <a:t>578.12</a:t>
                    </a:r>
                  </a:p>
                </c:rich>
              </c:tx>
              <c:dLblPos val="t"/>
              <c:showLegendKey val="0"/>
              <c:showVal val="1"/>
              <c:showCatName val="0"/>
              <c:showSerName val="0"/>
              <c:showPercent val="0"/>
              <c:showBubbleSize val="0"/>
            </c:dLbl>
            <c:dLbl>
              <c:idx val="9"/>
              <c:tx>
                <c:rich>
                  <a:bodyPr/>
                  <a:lstStyle/>
                  <a:p>
                    <a:r>
                      <a:t>432.37</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438.8029</c:v>
                </c:pt>
                <c:pt idx="1">
                  <c:v>1293.665</c:v>
                </c:pt>
                <c:pt idx="2">
                  <c:v>4061.2672</c:v>
                </c:pt>
                <c:pt idx="3">
                  <c:v>0.0</c:v>
                </c:pt>
                <c:pt idx="4">
                  <c:v>1182.8998</c:v>
                </c:pt>
                <c:pt idx="5">
                  <c:v>1316.9888</c:v>
                </c:pt>
                <c:pt idx="6">
                  <c:v>1142.4345</c:v>
                </c:pt>
                <c:pt idx="7">
                  <c:v>905.0306</c:v>
                </c:pt>
                <c:pt idx="8">
                  <c:v>578.1177</c:v>
                </c:pt>
                <c:pt idx="9">
                  <c:v>432.374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1003.4</c:v>
                </c:pt>
                <c:pt idx="1">
                  <c:v>12.5</c:v>
                </c:pt>
                <c:pt idx="2">
                  <c:v>411.0</c:v>
                </c:pt>
                <c:pt idx="3">
                  <c:v>0.0</c:v>
                </c:pt>
                <c:pt idx="4">
                  <c:v>152.7</c:v>
                </c:pt>
                <c:pt idx="5">
                  <c:v>0.0</c:v>
                </c:pt>
                <c:pt idx="6">
                  <c:v>32.4</c:v>
                </c:pt>
                <c:pt idx="7">
                  <c:v>0.0</c:v>
                </c:pt>
                <c:pt idx="8">
                  <c:v>24.9</c:v>
                </c:pt>
                <c:pt idx="9">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58.79</a:t>
                    </a:r>
                  </a:p>
                </c:rich>
              </c:tx>
              <c:dLblPos val="t"/>
              <c:showLegendKey val="0"/>
              <c:showVal val="1"/>
              <c:showCatName val="0"/>
              <c:showSerName val="0"/>
              <c:showPercent val="0"/>
              <c:showBubbleSize val="0"/>
            </c:dLbl>
            <c:dLbl>
              <c:idx val="1"/>
              <c:tx>
                <c:rich>
                  <a:bodyPr/>
                  <a:lstStyle/>
                  <a:p>
                    <a:r>
                      <a:t>4025.53</a:t>
                    </a:r>
                  </a:p>
                </c:rich>
              </c:tx>
              <c:dLblPos val="t"/>
              <c:showLegendKey val="0"/>
              <c:showVal val="1"/>
              <c:showCatName val="0"/>
              <c:showSerName val="0"/>
              <c:showPercent val="0"/>
              <c:showBubbleSize val="0"/>
            </c:dLbl>
            <c:dLbl>
              <c:idx val="2"/>
              <c:tx>
                <c:rich>
                  <a:bodyPr/>
                  <a:lstStyle/>
                  <a:p>
                    <a:r>
                      <a:t>4637.21</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1085.81</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113.68</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dLbl>
              <c:idx val="8"/>
              <c:tx>
                <c:rich>
                  <a:bodyPr/>
                  <a:lstStyle/>
                  <a:p>
                    <a:r>
                      <a:t>574.66</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358.7932</c:v>
                </c:pt>
                <c:pt idx="1">
                  <c:v>4025.5318</c:v>
                </c:pt>
                <c:pt idx="2">
                  <c:v>4637.206</c:v>
                </c:pt>
                <c:pt idx="3">
                  <c:v>0.0</c:v>
                </c:pt>
                <c:pt idx="4">
                  <c:v>1085.8104</c:v>
                </c:pt>
                <c:pt idx="5">
                  <c:v>0.0</c:v>
                </c:pt>
                <c:pt idx="6">
                  <c:v>1113.6845</c:v>
                </c:pt>
                <c:pt idx="7">
                  <c:v>0.0</c:v>
                </c:pt>
                <c:pt idx="8">
                  <c:v>574.6601</c:v>
                </c:pt>
                <c:pt idx="9">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215.1</c:v>
                </c:pt>
                <c:pt idx="1">
                  <c:v>3.0</c:v>
                </c:pt>
                <c:pt idx="2">
                  <c:v>93.5</c:v>
                </c:pt>
                <c:pt idx="3">
                  <c:v>0.0</c:v>
                </c:pt>
                <c:pt idx="4">
                  <c:v>29.6</c:v>
                </c:pt>
                <c:pt idx="5">
                  <c:v>0.0</c:v>
                </c:pt>
                <c:pt idx="6">
                  <c:v>5.9</c:v>
                </c:pt>
                <c:pt idx="7">
                  <c:v>0.0</c:v>
                </c:pt>
                <c:pt idx="8">
                  <c:v>4.4</c:v>
                </c:pt>
                <c:pt idx="9">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73.12</a:t>
                    </a:r>
                  </a:p>
                </c:rich>
              </c:tx>
              <c:dLblPos val="t"/>
              <c:showLegendKey val="0"/>
              <c:showVal val="1"/>
              <c:showCatName val="0"/>
              <c:showSerName val="0"/>
              <c:showPercent val="0"/>
              <c:showBubbleSize val="0"/>
            </c:dLbl>
            <c:dLbl>
              <c:idx val="1"/>
              <c:tx>
                <c:rich>
                  <a:bodyPr/>
                  <a:lstStyle/>
                  <a:p>
                    <a:r>
                      <a:t>4341.9</a:t>
                    </a:r>
                  </a:p>
                </c:rich>
              </c:tx>
              <c:dLblPos val="t"/>
              <c:showLegendKey val="0"/>
              <c:showVal val="1"/>
              <c:showCatName val="0"/>
              <c:showSerName val="0"/>
              <c:showPercent val="0"/>
              <c:showBubbleSize val="0"/>
            </c:dLbl>
            <c:dLbl>
              <c:idx val="2"/>
              <c:tx>
                <c:rich>
                  <a:bodyPr/>
                  <a:lstStyle/>
                  <a:p>
                    <a:r>
                      <a:t>4498.56</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1068.23</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077.75</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dLbl>
              <c:idx val="8"/>
              <c:tx>
                <c:rich>
                  <a:bodyPr/>
                  <a:lstStyle/>
                  <a:p>
                    <a:r>
                      <a:t>542.44</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373.1205</c:v>
                </c:pt>
                <c:pt idx="1">
                  <c:v>4341.905</c:v>
                </c:pt>
                <c:pt idx="2">
                  <c:v>4498.5601</c:v>
                </c:pt>
                <c:pt idx="3">
                  <c:v>0.0</c:v>
                </c:pt>
                <c:pt idx="4">
                  <c:v>1068.2305</c:v>
                </c:pt>
                <c:pt idx="5">
                  <c:v>0.0</c:v>
                </c:pt>
                <c:pt idx="6">
                  <c:v>1077.7548</c:v>
                </c:pt>
                <c:pt idx="7">
                  <c:v>0.0</c:v>
                </c:pt>
                <c:pt idx="8">
                  <c:v>542.4386</c:v>
                </c:pt>
                <c:pt idx="9">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Cosmetics</c:v>
                  </c:pt>
                  <c:pt idx="2">
                    <c:v>Sunscreen Derma</c:v>
                  </c:pt>
                  <c:pt idx="4">
                    <c:v>Sunscreen Sport</c:v>
                  </c:pt>
                  <c:pt idx="6">
                    <c:v>Sunscreen | O.O.S</c:v>
                  </c:pt>
                </c:lvl>
              </c:multiLvlStrCache>
            </c:multiLvlStrRef>
          </c:cat>
          <c:val>
            <c:numRef>
              <c:f>Sheet1!$C$2:$C$9</c:f>
              <c:numCache>
                <c:formatCode>General</c:formatCode>
                <c:ptCount val="8"/>
                <c:pt idx="0">
                  <c:v>146.4</c:v>
                </c:pt>
                <c:pt idx="1">
                  <c:v>1.9</c:v>
                </c:pt>
                <c:pt idx="2">
                  <c:v>126.2</c:v>
                </c:pt>
                <c:pt idx="3">
                  <c:v>0.0</c:v>
                </c:pt>
                <c:pt idx="4">
                  <c:v>20.2</c:v>
                </c:pt>
                <c:pt idx="5">
                  <c:v>0.0</c:v>
                </c:pt>
                <c:pt idx="6">
                  <c:v>9.3</c:v>
                </c:pt>
                <c:pt idx="7">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90.5</a:t>
                    </a:r>
                  </a:p>
                </c:rich>
              </c:tx>
              <c:dLblPos val="t"/>
              <c:showLegendKey val="0"/>
              <c:showVal val="1"/>
              <c:showCatName val="0"/>
              <c:showSerName val="0"/>
              <c:showPercent val="0"/>
              <c:showBubbleSize val="0"/>
            </c:dLbl>
            <c:dLbl>
              <c:idx val="1"/>
              <c:tx>
                <c:rich>
                  <a:bodyPr/>
                  <a:lstStyle/>
                  <a:p>
                    <a:r>
                      <a:t>4279.46</a:t>
                    </a:r>
                  </a:p>
                </c:rich>
              </c:tx>
              <c:dLblPos val="t"/>
              <c:showLegendKey val="0"/>
              <c:showVal val="1"/>
              <c:showCatName val="0"/>
              <c:showSerName val="0"/>
              <c:showPercent val="0"/>
              <c:showBubbleSize val="0"/>
            </c:dLbl>
            <c:dLbl>
              <c:idx val="2"/>
              <c:tx>
                <c:rich>
                  <a:bodyPr/>
                  <a:lstStyle/>
                  <a:p>
                    <a:r>
                      <a:t>5526.06</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1024.2</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9981.33</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Beauty Care</c:v>
                  </c:pt>
                  <c:pt idx="2">
                    <c:v>Total</c:v>
                  </c:pt>
                  <c:pt idx="3">
                    <c:v>Beauty Care</c:v>
                  </c:pt>
                  <c:pt idx="4">
                    <c:v>Total</c:v>
                  </c:pt>
                  <c:pt idx="5">
                    <c:v>Beauty Care</c:v>
                  </c:pt>
                  <c:pt idx="6">
                    <c:v>Total</c:v>
                  </c:pt>
                  <c:pt idx="7">
                    <c:v>Beauty Care</c:v>
                  </c:pt>
                </c:lvl>
                <c:lvl>
                  <c:pt idx="0">
                    <c:v>Sunscreen Cosmetics</c:v>
                  </c:pt>
                  <c:pt idx="2">
                    <c:v>Sunscreen Derma</c:v>
                  </c:pt>
                  <c:pt idx="4">
                    <c:v>Sunscreen Sport</c:v>
                  </c:pt>
                  <c:pt idx="6">
                    <c:v>Sunscreen | O.O.S</c:v>
                  </c:pt>
                </c:lvl>
              </c:multiLvlStrCache>
            </c:multiLvlStrRef>
          </c:cat>
          <c:val>
            <c:numRef>
              <c:f>Sheet1!$D$2:$D$9</c:f>
              <c:numCache>
                <c:formatCode>General</c:formatCode>
                <c:ptCount val="8"/>
                <c:pt idx="0">
                  <c:v>1390.5033</c:v>
                </c:pt>
                <c:pt idx="1">
                  <c:v>4279.4598</c:v>
                </c:pt>
                <c:pt idx="2">
                  <c:v>5526.0638</c:v>
                </c:pt>
                <c:pt idx="3">
                  <c:v>0.0</c:v>
                </c:pt>
                <c:pt idx="4">
                  <c:v>1024.1972</c:v>
                </c:pt>
                <c:pt idx="5">
                  <c:v>0.0</c:v>
                </c:pt>
                <c:pt idx="6">
                  <c:v>9981.3312</c:v>
                </c:pt>
                <c:pt idx="7">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D764683-EAA4-42AF-91BF-7CEB56B79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0343F4-9311-46ED-A5C9-AFF56FEBAB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7CB4718-ADD2-4A19-A5B1-8AEF4DA9F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C961B5-DEE4-46CD-ADDB-18000688A3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E60F582-43BE-4091-A7E4-CADCA9E1E1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876193F-A701-4A40-A0A1-2430CEE376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AE6C963-3C21-464B-9ECF-50A675BFFA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8E3E528-BEC2-4529-9399-E25346C692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0.0179</c:v>
                </c:pt>
                <c:pt idx="1">
                  <c:v>211.3991</c:v>
                </c:pt>
                <c:pt idx="2">
                  <c:v>225.7719</c:v>
                </c:pt>
                <c:pt idx="3">
                  <c:v>589.7584</c:v>
                </c:pt>
                <c:pt idx="4">
                  <c:v>290.1049</c:v>
                </c:pt>
                <c:pt idx="5">
                  <c:v>87.5479</c:v>
                </c:pt>
                <c:pt idx="6">
                  <c:v>592.5708</c:v>
                </c:pt>
                <c:pt idx="7">
                  <c:v>214.8602</c:v>
                </c:pt>
              </c:numCache>
            </c:numRef>
          </c:xVal>
          <c:yVal>
            <c:numRef>
              <c:f>Sheet1!$B$2:$B$9</c:f>
              <c:numCache>
                <c:formatCode>General</c:formatCode>
                <c:ptCount val="8"/>
                <c:pt idx="0">
                  <c:v>1.019</c:v>
                </c:pt>
                <c:pt idx="1">
                  <c:v>0.728</c:v>
                </c:pt>
                <c:pt idx="2">
                  <c:v>0.71</c:v>
                </c:pt>
                <c:pt idx="3">
                  <c:v>3.763</c:v>
                </c:pt>
                <c:pt idx="4">
                  <c:v>1.915</c:v>
                </c:pt>
                <c:pt idx="5">
                  <c:v>0.434</c:v>
                </c:pt>
                <c:pt idx="6">
                  <c:v>5.137</c:v>
                </c:pt>
                <c:pt idx="7">
                  <c:v>2.565</c:v>
                </c:pt>
              </c:numCache>
            </c:numRef>
          </c:yVal>
          <c:bubbleSize>
            <c:numRef>
              <c:f>Sheet1!$C$2:$C$9</c:f>
              <c:numCache>
                <c:formatCode>General</c:formatCode>
                <c:ptCount val="8"/>
                <c:pt idx="0">
                  <c:v>77257194</c:v>
                </c:pt>
                <c:pt idx="1">
                  <c:v>38488805</c:v>
                </c:pt>
                <c:pt idx="2">
                  <c:v>24037481</c:v>
                </c:pt>
                <c:pt idx="3">
                  <c:v>17357178</c:v>
                </c:pt>
                <c:pt idx="4">
                  <c:v>16158843</c:v>
                </c:pt>
                <c:pt idx="5">
                  <c:v>9858772</c:v>
                </c:pt>
                <c:pt idx="6">
                  <c:v>6637385</c:v>
                </c:pt>
                <c:pt idx="7">
                  <c:v>184564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1.0"/>
          <c:min val="70.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195.6</c:v>
                </c:pt>
                <c:pt idx="1">
                  <c:v>2.2</c:v>
                </c:pt>
                <c:pt idx="2">
                  <c:v>31.9</c:v>
                </c:pt>
                <c:pt idx="3">
                  <c:v>0.0</c:v>
                </c:pt>
                <c:pt idx="4">
                  <c:v>29.3</c:v>
                </c:pt>
                <c:pt idx="5">
                  <c:v>0.0</c:v>
                </c:pt>
                <c:pt idx="6">
                  <c:v>8.3</c:v>
                </c:pt>
                <c:pt idx="7">
                  <c:v>0.0</c:v>
                </c:pt>
                <c:pt idx="8">
                  <c:v>8.2</c:v>
                </c:pt>
                <c:pt idx="9">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13.6</a:t>
                    </a:r>
                  </a:p>
                </c:rich>
              </c:tx>
              <c:dLblPos val="t"/>
              <c:showLegendKey val="0"/>
              <c:showVal val="1"/>
              <c:showCatName val="0"/>
              <c:showSerName val="0"/>
              <c:showPercent val="0"/>
              <c:showBubbleSize val="0"/>
            </c:dLbl>
            <c:dLbl>
              <c:idx val="1"/>
              <c:tx>
                <c:rich>
                  <a:bodyPr/>
                  <a:lstStyle/>
                  <a:p>
                    <a:r>
                      <a:t>3103.44</a:t>
                    </a:r>
                  </a:p>
                </c:rich>
              </c:tx>
              <c:dLblPos val="t"/>
              <c:showLegendKey val="0"/>
              <c:showVal val="1"/>
              <c:showCatName val="0"/>
              <c:showSerName val="0"/>
              <c:showPercent val="0"/>
              <c:showBubbleSize val="0"/>
            </c:dLbl>
            <c:dLbl>
              <c:idx val="2"/>
              <c:tx>
                <c:rich>
                  <a:bodyPr/>
                  <a:lstStyle/>
                  <a:p>
                    <a:r>
                      <a:t>3202.02</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1076.37</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175.47</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dLbl>
              <c:idx val="8"/>
              <c:tx>
                <c:rich>
                  <a:bodyPr/>
                  <a:lstStyle/>
                  <a:p>
                    <a:r>
                      <a:t>631.14</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313.604</c:v>
                </c:pt>
                <c:pt idx="1">
                  <c:v>3103.4389</c:v>
                </c:pt>
                <c:pt idx="2">
                  <c:v>3202.0178</c:v>
                </c:pt>
                <c:pt idx="3">
                  <c:v>0.0</c:v>
                </c:pt>
                <c:pt idx="4">
                  <c:v>1076.3668</c:v>
                </c:pt>
                <c:pt idx="5">
                  <c:v>0.0</c:v>
                </c:pt>
                <c:pt idx="6">
                  <c:v>1175.4741</c:v>
                </c:pt>
                <c:pt idx="7">
                  <c:v>0.0</c:v>
                </c:pt>
                <c:pt idx="8">
                  <c:v>631.1431</c:v>
                </c:pt>
                <c:pt idx="9">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166.3</c:v>
                </c:pt>
                <c:pt idx="1">
                  <c:v>1.8</c:v>
                </c:pt>
                <c:pt idx="2">
                  <c:v>65.7</c:v>
                </c:pt>
                <c:pt idx="3">
                  <c:v>0.0</c:v>
                </c:pt>
                <c:pt idx="4">
                  <c:v>23.4</c:v>
                </c:pt>
                <c:pt idx="5">
                  <c:v>0.0</c:v>
                </c:pt>
                <c:pt idx="6">
                  <c:v>5.3</c:v>
                </c:pt>
                <c:pt idx="7">
                  <c:v>0.0</c:v>
                </c:pt>
                <c:pt idx="8">
                  <c:v>3.3</c:v>
                </c:pt>
                <c:pt idx="9">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28.3</a:t>
                    </a:r>
                  </a:p>
                </c:rich>
              </c:tx>
              <c:dLblPos val="t"/>
              <c:showLegendKey val="0"/>
              <c:showVal val="1"/>
              <c:showCatName val="0"/>
              <c:showSerName val="0"/>
              <c:showPercent val="0"/>
              <c:showBubbleSize val="0"/>
            </c:dLbl>
            <c:dLbl>
              <c:idx val="1"/>
              <c:tx>
                <c:rich>
                  <a:bodyPr/>
                  <a:lstStyle/>
                  <a:p>
                    <a:r>
                      <a:t>4233.14</a:t>
                    </a:r>
                  </a:p>
                </c:rich>
              </c:tx>
              <c:dLblPos val="t"/>
              <c:showLegendKey val="0"/>
              <c:showVal val="1"/>
              <c:showCatName val="0"/>
              <c:showSerName val="0"/>
              <c:showPercent val="0"/>
              <c:showBubbleSize val="0"/>
            </c:dLbl>
            <c:dLbl>
              <c:idx val="2"/>
              <c:tx>
                <c:rich>
                  <a:bodyPr/>
                  <a:lstStyle/>
                  <a:p>
                    <a:r>
                      <a:t>4651.87</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1049.5</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111.4</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dLbl>
              <c:idx val="8"/>
              <c:tx>
                <c:rich>
                  <a:bodyPr/>
                  <a:lstStyle/>
                  <a:p>
                    <a:r>
                      <a:t>558.8</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328.2992</c:v>
                </c:pt>
                <c:pt idx="1">
                  <c:v>4233.1399</c:v>
                </c:pt>
                <c:pt idx="2">
                  <c:v>4651.8679</c:v>
                </c:pt>
                <c:pt idx="3">
                  <c:v>0.0</c:v>
                </c:pt>
                <c:pt idx="4">
                  <c:v>1049.4967</c:v>
                </c:pt>
                <c:pt idx="5">
                  <c:v>0.0</c:v>
                </c:pt>
                <c:pt idx="6">
                  <c:v>1111.4049</c:v>
                </c:pt>
                <c:pt idx="7">
                  <c:v>0.0</c:v>
                </c:pt>
                <c:pt idx="8">
                  <c:v>558.8041</c:v>
                </c:pt>
                <c:pt idx="9">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152.9</c:v>
                </c:pt>
                <c:pt idx="1">
                  <c:v>2.0</c:v>
                </c:pt>
                <c:pt idx="2">
                  <c:v>62.7</c:v>
                </c:pt>
                <c:pt idx="3">
                  <c:v>0.0</c:v>
                </c:pt>
                <c:pt idx="4">
                  <c:v>28.3</c:v>
                </c:pt>
                <c:pt idx="5">
                  <c:v>0.0</c:v>
                </c:pt>
                <c:pt idx="6">
                  <c:v>5.9</c:v>
                </c:pt>
                <c:pt idx="7">
                  <c:v>0.0</c:v>
                </c:pt>
                <c:pt idx="8">
                  <c:v>3.8</c:v>
                </c:pt>
                <c:pt idx="9">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40.34</a:t>
                    </a:r>
                  </a:p>
                </c:rich>
              </c:tx>
              <c:dLblPos val="t"/>
              <c:showLegendKey val="0"/>
              <c:showVal val="1"/>
              <c:showCatName val="0"/>
              <c:showSerName val="0"/>
              <c:showPercent val="0"/>
              <c:showBubbleSize val="0"/>
            </c:dLbl>
            <c:dLbl>
              <c:idx val="1"/>
              <c:tx>
                <c:rich>
                  <a:bodyPr/>
                  <a:lstStyle/>
                  <a:p>
                    <a:r>
                      <a:t>4326.95</a:t>
                    </a:r>
                  </a:p>
                </c:rich>
              </c:tx>
              <c:dLblPos val="t"/>
              <c:showLegendKey val="0"/>
              <c:showVal val="1"/>
              <c:showCatName val="0"/>
              <c:showSerName val="0"/>
              <c:showPercent val="0"/>
              <c:showBubbleSize val="0"/>
            </c:dLbl>
            <c:dLbl>
              <c:idx val="2"/>
              <c:tx>
                <c:rich>
                  <a:bodyPr/>
                  <a:lstStyle/>
                  <a:p>
                    <a:r>
                      <a:t>4720.11</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1124.43</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093.24</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dLbl>
              <c:idx val="8"/>
              <c:tx>
                <c:rich>
                  <a:bodyPr/>
                  <a:lstStyle/>
                  <a:p>
                    <a:r>
                      <a:t>554.0</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340.3395</c:v>
                </c:pt>
                <c:pt idx="1">
                  <c:v>4326.949</c:v>
                </c:pt>
                <c:pt idx="2">
                  <c:v>4720.1137</c:v>
                </c:pt>
                <c:pt idx="3">
                  <c:v>0.0</c:v>
                </c:pt>
                <c:pt idx="4">
                  <c:v>1124.4307</c:v>
                </c:pt>
                <c:pt idx="5">
                  <c:v>0.0</c:v>
                </c:pt>
                <c:pt idx="6">
                  <c:v>1093.2354</c:v>
                </c:pt>
                <c:pt idx="7">
                  <c:v>0.0</c:v>
                </c:pt>
                <c:pt idx="8">
                  <c:v>553.9996</c:v>
                </c:pt>
                <c:pt idx="9">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osmetics</c:v>
                  </c:pt>
                  <c:pt idx="2">
                    <c:v>Sunscreen Derma</c:v>
                  </c:pt>
                  <c:pt idx="4">
                    <c:v>Sunscreen Sport</c:v>
                  </c:pt>
                  <c:pt idx="6">
                    <c:v>Tanning Cosmetics</c:v>
                  </c:pt>
                  <c:pt idx="8">
                    <c:v>After Sun Cosmetics</c:v>
                  </c:pt>
                </c:lvl>
              </c:multiLvlStrCache>
            </c:multiLvlStrRef>
          </c:cat>
          <c:val>
            <c:numRef>
              <c:f>Sheet1!$C$2:$C$11</c:f>
              <c:numCache>
                <c:formatCode>General</c:formatCode>
                <c:ptCount val="10"/>
                <c:pt idx="0">
                  <c:v>127.1</c:v>
                </c:pt>
                <c:pt idx="1">
                  <c:v>1.5</c:v>
                </c:pt>
                <c:pt idx="2">
                  <c:v>31.1</c:v>
                </c:pt>
                <c:pt idx="3">
                  <c:v>0.0</c:v>
                </c:pt>
                <c:pt idx="4">
                  <c:v>21.8</c:v>
                </c:pt>
                <c:pt idx="5">
                  <c:v>0.0</c:v>
                </c:pt>
                <c:pt idx="6">
                  <c:v>4.0</c:v>
                </c:pt>
                <c:pt idx="7">
                  <c:v>0.0</c:v>
                </c:pt>
                <c:pt idx="8">
                  <c:v>3.0</c:v>
                </c:pt>
                <c:pt idx="9">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438.8</a:t>
                    </a:r>
                  </a:p>
                </c:rich>
              </c:tx>
              <c:dLblPos val="t"/>
              <c:showLegendKey val="0"/>
              <c:showVal val="1"/>
              <c:showCatName val="0"/>
              <c:showSerName val="0"/>
              <c:showPercent val="0"/>
              <c:showBubbleSize val="0"/>
            </c:dLbl>
            <c:dLbl>
              <c:idx val="1"/>
              <c:tx>
                <c:rich>
                  <a:bodyPr/>
                  <a:lstStyle/>
                  <a:p>
                    <a:r>
                      <a:t>4326.43</a:t>
                    </a:r>
                  </a:p>
                </c:rich>
              </c:tx>
              <c:dLblPos val="t"/>
              <c:showLegendKey val="0"/>
              <c:showVal val="1"/>
              <c:showCatName val="0"/>
              <c:showSerName val="0"/>
              <c:showPercent val="0"/>
              <c:showBubbleSize val="0"/>
            </c:dLbl>
            <c:dLbl>
              <c:idx val="2"/>
              <c:tx>
                <c:rich>
                  <a:bodyPr/>
                  <a:lstStyle/>
                  <a:p>
                    <a:r>
                      <a:t>4061.27</a:t>
                    </a:r>
                  </a:p>
                </c:rich>
              </c:tx>
              <c:dLblPos val="t"/>
              <c:showLegendKey val="0"/>
              <c:showVal val="1"/>
              <c:showCatName val="0"/>
              <c:showSerName val="0"/>
              <c:showPercent val="0"/>
              <c:showBubbleSize val="0"/>
            </c:dLbl>
            <c:dLbl>
              <c:idx val="3"/>
              <c:tx>
                <c:rich>
                  <a:bodyPr/>
                  <a:lstStyle/>
                  <a:p>
                    <a:r>
                      <a:t>0.0</a:t>
                    </a:r>
                  </a:p>
                </c:rich>
              </c:tx>
              <c:dLblPos val="t"/>
              <c:showLegendKey val="0"/>
              <c:showVal val="1"/>
              <c:showCatName val="0"/>
              <c:showSerName val="0"/>
              <c:showPercent val="0"/>
              <c:showBubbleSize val="0"/>
            </c:dLbl>
            <c:dLbl>
              <c:idx val="4"/>
              <c:tx>
                <c:rich>
                  <a:bodyPr/>
                  <a:lstStyle/>
                  <a:p>
                    <a:r>
                      <a:t>1182.9</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142.43</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dLbl>
              <c:idx val="8"/>
              <c:tx>
                <c:rich>
                  <a:bodyPr/>
                  <a:lstStyle/>
                  <a:p>
                    <a:r>
                      <a:t>578.12</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Sunscreen Cosmetics</c:v>
                  </c:pt>
                  <c:pt idx="2">
                    <c:v>Sunscreen Derma</c:v>
                  </c:pt>
                  <c:pt idx="4">
                    <c:v>Sunscreen Sport</c:v>
                  </c:pt>
                  <c:pt idx="6">
                    <c:v>Tanning Cosmetics</c:v>
                  </c:pt>
                  <c:pt idx="8">
                    <c:v>After Sun Cosmetics</c:v>
                  </c:pt>
                </c:lvl>
              </c:multiLvlStrCache>
            </c:multiLvlStrRef>
          </c:cat>
          <c:val>
            <c:numRef>
              <c:f>Sheet1!$D$2:$D$11</c:f>
              <c:numCache>
                <c:formatCode>General</c:formatCode>
                <c:ptCount val="10"/>
                <c:pt idx="0">
                  <c:v>1438.8029</c:v>
                </c:pt>
                <c:pt idx="1">
                  <c:v>4326.4348</c:v>
                </c:pt>
                <c:pt idx="2">
                  <c:v>4061.2672</c:v>
                </c:pt>
                <c:pt idx="3">
                  <c:v>0.0</c:v>
                </c:pt>
                <c:pt idx="4">
                  <c:v>1182.8998</c:v>
                </c:pt>
                <c:pt idx="5">
                  <c:v>0.0</c:v>
                </c:pt>
                <c:pt idx="6">
                  <c:v>1142.4345</c:v>
                </c:pt>
                <c:pt idx="7">
                  <c:v>0.0</c:v>
                </c:pt>
                <c:pt idx="8">
                  <c:v>578.1177</c:v>
                </c:pt>
                <c:pt idx="9">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No Spray Crema</c:v>
                  </c:pt>
                  <c:pt idx="2">
                    <c:v>No Spray Liquido</c:v>
                  </c:pt>
                  <c:pt idx="4">
                    <c:v>No Spray Gel</c:v>
                  </c:pt>
                  <c:pt idx="6">
                    <c:v>Spray Liquido</c:v>
                  </c:pt>
                  <c:pt idx="8">
                    <c:v>No Spray Fluido</c:v>
                  </c:pt>
                </c:lvl>
              </c:multiLvlStrCache>
            </c:multiLvlStrRef>
          </c:cat>
          <c:val>
            <c:numRef>
              <c:f>Sheet1!$C$2:$C$11</c:f>
              <c:numCache>
                <c:formatCode>General</c:formatCode>
                <c:ptCount val="10"/>
                <c:pt idx="0">
                  <c:v>756.5</c:v>
                </c:pt>
                <c:pt idx="1">
                  <c:v>75.0</c:v>
                </c:pt>
                <c:pt idx="2">
                  <c:v>368.2</c:v>
                </c:pt>
                <c:pt idx="3">
                  <c:v>134.3</c:v>
                </c:pt>
                <c:pt idx="4">
                  <c:v>146.8</c:v>
                </c:pt>
                <c:pt idx="5">
                  <c:v>9.3</c:v>
                </c:pt>
                <c:pt idx="6">
                  <c:v>133.7</c:v>
                </c:pt>
                <c:pt idx="7">
                  <c:v>39.8</c:v>
                </c:pt>
                <c:pt idx="8">
                  <c:v>56.8</c:v>
                </c:pt>
                <c:pt idx="9">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05.63</a:t>
                    </a:r>
                  </a:p>
                </c:rich>
              </c:tx>
              <c:dLblPos val="t"/>
              <c:showLegendKey val="0"/>
              <c:showVal val="1"/>
              <c:showCatName val="0"/>
              <c:showSerName val="0"/>
              <c:showPercent val="0"/>
              <c:showBubbleSize val="0"/>
            </c:dLbl>
            <c:dLbl>
              <c:idx val="1"/>
              <c:tx>
                <c:rich>
                  <a:bodyPr/>
                  <a:lstStyle/>
                  <a:p>
                    <a:r>
                      <a:t>1158.64</a:t>
                    </a:r>
                  </a:p>
                </c:rich>
              </c:tx>
              <c:dLblPos val="t"/>
              <c:showLegendKey val="0"/>
              <c:showVal val="1"/>
              <c:showCatName val="0"/>
              <c:showSerName val="0"/>
              <c:showPercent val="0"/>
              <c:showBubbleSize val="0"/>
            </c:dLbl>
            <c:dLbl>
              <c:idx val="2"/>
              <c:tx>
                <c:rich>
                  <a:bodyPr/>
                  <a:lstStyle/>
                  <a:p>
                    <a:r>
                      <a:t>1356.64</a:t>
                    </a:r>
                  </a:p>
                </c:rich>
              </c:tx>
              <c:dLblPos val="t"/>
              <c:showLegendKey val="0"/>
              <c:showVal val="1"/>
              <c:showCatName val="0"/>
              <c:showSerName val="0"/>
              <c:showPercent val="0"/>
              <c:showBubbleSize val="0"/>
            </c:dLbl>
            <c:dLbl>
              <c:idx val="3"/>
              <c:tx>
                <c:rich>
                  <a:bodyPr/>
                  <a:lstStyle/>
                  <a:p>
                    <a:r>
                      <a:t>1190.6</a:t>
                    </a:r>
                  </a:p>
                </c:rich>
              </c:tx>
              <c:dLblPos val="t"/>
              <c:showLegendKey val="0"/>
              <c:showVal val="1"/>
              <c:showCatName val="0"/>
              <c:showSerName val="0"/>
              <c:showPercent val="0"/>
              <c:showBubbleSize val="0"/>
            </c:dLbl>
            <c:dLbl>
              <c:idx val="4"/>
              <c:tx>
                <c:rich>
                  <a:bodyPr/>
                  <a:lstStyle/>
                  <a:p>
                    <a:r>
                      <a:t>1363.31</a:t>
                    </a:r>
                  </a:p>
                </c:rich>
              </c:tx>
              <c:dLblPos val="t"/>
              <c:showLegendKey val="0"/>
              <c:showVal val="1"/>
              <c:showCatName val="0"/>
              <c:showSerName val="0"/>
              <c:showPercent val="0"/>
              <c:showBubbleSize val="0"/>
            </c:dLbl>
            <c:dLbl>
              <c:idx val="5"/>
              <c:tx>
                <c:rich>
                  <a:bodyPr/>
                  <a:lstStyle/>
                  <a:p>
                    <a:r>
                      <a:t>675.74</a:t>
                    </a:r>
                  </a:p>
                </c:rich>
              </c:tx>
              <c:dLblPos val="t"/>
              <c:showLegendKey val="0"/>
              <c:showVal val="1"/>
              <c:showCatName val="0"/>
              <c:showSerName val="0"/>
              <c:showPercent val="0"/>
              <c:showBubbleSize val="0"/>
            </c:dLbl>
            <c:dLbl>
              <c:idx val="6"/>
              <c:tx>
                <c:rich>
                  <a:bodyPr/>
                  <a:lstStyle/>
                  <a:p>
                    <a:r>
                      <a:t>1403.03</a:t>
                    </a:r>
                  </a:p>
                </c:rich>
              </c:tx>
              <c:dLblPos val="t"/>
              <c:showLegendKey val="0"/>
              <c:showVal val="1"/>
              <c:showCatName val="0"/>
              <c:showSerName val="0"/>
              <c:showPercent val="0"/>
              <c:showBubbleSize val="0"/>
            </c:dLbl>
            <c:dLbl>
              <c:idx val="7"/>
              <c:tx>
                <c:rich>
                  <a:bodyPr/>
                  <a:lstStyle/>
                  <a:p>
                    <a:r>
                      <a:t>1400.7</a:t>
                    </a:r>
                  </a:p>
                </c:rich>
              </c:tx>
              <c:dLblPos val="t"/>
              <c:showLegendKey val="0"/>
              <c:showVal val="1"/>
              <c:showCatName val="0"/>
              <c:showSerName val="0"/>
              <c:showPercent val="0"/>
              <c:showBubbleSize val="0"/>
            </c:dLbl>
            <c:dLbl>
              <c:idx val="8"/>
              <c:tx>
                <c:rich>
                  <a:bodyPr/>
                  <a:lstStyle/>
                  <a:p>
                    <a:r>
                      <a:t>10910.92</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No Spray Crema</c:v>
                  </c:pt>
                  <c:pt idx="2">
                    <c:v>No Spray Liquido</c:v>
                  </c:pt>
                  <c:pt idx="4">
                    <c:v>No Spray Gel</c:v>
                  </c:pt>
                  <c:pt idx="6">
                    <c:v>Spray Liquido</c:v>
                  </c:pt>
                  <c:pt idx="8">
                    <c:v>No Spray Fluido</c:v>
                  </c:pt>
                </c:lvl>
              </c:multiLvlStrCache>
            </c:multiLvlStrRef>
          </c:cat>
          <c:val>
            <c:numRef>
              <c:f>Sheet1!$D$2:$D$11</c:f>
              <c:numCache>
                <c:formatCode>General</c:formatCode>
                <c:ptCount val="10"/>
                <c:pt idx="0">
                  <c:v>1605.6335</c:v>
                </c:pt>
                <c:pt idx="1">
                  <c:v>1158.6441</c:v>
                </c:pt>
                <c:pt idx="2">
                  <c:v>1356.6373</c:v>
                </c:pt>
                <c:pt idx="3">
                  <c:v>1190.5996</c:v>
                </c:pt>
                <c:pt idx="4">
                  <c:v>1363.3117</c:v>
                </c:pt>
                <c:pt idx="5">
                  <c:v>675.7445</c:v>
                </c:pt>
                <c:pt idx="6">
                  <c:v>1403.0264</c:v>
                </c:pt>
                <c:pt idx="7">
                  <c:v>1400.6986</c:v>
                </c:pt>
                <c:pt idx="8">
                  <c:v>10910.9212</c:v>
                </c:pt>
                <c:pt idx="9">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No Spray Crema</c:v>
                  </c:pt>
                  <c:pt idx="2">
                    <c:v>No Spray Liquido</c:v>
                  </c:pt>
                  <c:pt idx="4">
                    <c:v>No Spray Gel</c:v>
                  </c:pt>
                  <c:pt idx="6">
                    <c:v>Spray Liquido</c:v>
                  </c:pt>
                  <c:pt idx="8">
                    <c:v>No Spray Fluido</c:v>
                  </c:pt>
                </c:lvl>
              </c:multiLvlStrCache>
            </c:multiLvlStrRef>
          </c:cat>
          <c:val>
            <c:numRef>
              <c:f>Sheet1!$C$2:$C$11</c:f>
              <c:numCache>
                <c:formatCode>General</c:formatCode>
                <c:ptCount val="10"/>
                <c:pt idx="0">
                  <c:v>171.4</c:v>
                </c:pt>
                <c:pt idx="1">
                  <c:v>16.5</c:v>
                </c:pt>
                <c:pt idx="2">
                  <c:v>83.9</c:v>
                </c:pt>
                <c:pt idx="3">
                  <c:v>32.7</c:v>
                </c:pt>
                <c:pt idx="4">
                  <c:v>30.3</c:v>
                </c:pt>
                <c:pt idx="5">
                  <c:v>1.7</c:v>
                </c:pt>
                <c:pt idx="6">
                  <c:v>21.3</c:v>
                </c:pt>
                <c:pt idx="7">
                  <c:v>5.5</c:v>
                </c:pt>
                <c:pt idx="8">
                  <c:v>11.2</c:v>
                </c:pt>
                <c:pt idx="9">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54.49</a:t>
                    </a:r>
                  </a:p>
                </c:rich>
              </c:tx>
              <c:dLblPos val="t"/>
              <c:showLegendKey val="0"/>
              <c:showVal val="1"/>
              <c:showCatName val="0"/>
              <c:showSerName val="0"/>
              <c:showPercent val="0"/>
              <c:showBubbleSize val="0"/>
            </c:dLbl>
            <c:dLbl>
              <c:idx val="1"/>
              <c:tx>
                <c:rich>
                  <a:bodyPr/>
                  <a:lstStyle/>
                  <a:p>
                    <a:r>
                      <a:t>1164.47</a:t>
                    </a:r>
                  </a:p>
                </c:rich>
              </c:tx>
              <c:dLblPos val="t"/>
              <c:showLegendKey val="0"/>
              <c:showVal val="1"/>
              <c:showCatName val="0"/>
              <c:showSerName val="0"/>
              <c:showPercent val="0"/>
              <c:showBubbleSize val="0"/>
            </c:dLbl>
            <c:dLbl>
              <c:idx val="2"/>
              <c:tx>
                <c:rich>
                  <a:bodyPr/>
                  <a:lstStyle/>
                  <a:p>
                    <a:r>
                      <a:t>1370.52</a:t>
                    </a:r>
                  </a:p>
                </c:rich>
              </c:tx>
              <c:dLblPos val="t"/>
              <c:showLegendKey val="0"/>
              <c:showVal val="1"/>
              <c:showCatName val="0"/>
              <c:showSerName val="0"/>
              <c:showPercent val="0"/>
              <c:showBubbleSize val="0"/>
            </c:dLbl>
            <c:dLbl>
              <c:idx val="3"/>
              <c:tx>
                <c:rich>
                  <a:bodyPr/>
                  <a:lstStyle/>
                  <a:p>
                    <a:r>
                      <a:t>1219.87</a:t>
                    </a:r>
                  </a:p>
                </c:rich>
              </c:tx>
              <c:dLblPos val="t"/>
              <c:showLegendKey val="0"/>
              <c:showVal val="1"/>
              <c:showCatName val="0"/>
              <c:showSerName val="0"/>
              <c:showPercent val="0"/>
              <c:showBubbleSize val="0"/>
            </c:dLbl>
            <c:dLbl>
              <c:idx val="4"/>
              <c:tx>
                <c:rich>
                  <a:bodyPr/>
                  <a:lstStyle/>
                  <a:p>
                    <a:r>
                      <a:t>1376.41</a:t>
                    </a:r>
                  </a:p>
                </c:rich>
              </c:tx>
              <c:dLblPos val="t"/>
              <c:showLegendKey val="0"/>
              <c:showVal val="1"/>
              <c:showCatName val="0"/>
              <c:showSerName val="0"/>
              <c:showPercent val="0"/>
              <c:showBubbleSize val="0"/>
            </c:dLbl>
            <c:dLbl>
              <c:idx val="5"/>
              <c:tx>
                <c:rich>
                  <a:bodyPr/>
                  <a:lstStyle/>
                  <a:p>
                    <a:r>
                      <a:t>715.72</a:t>
                    </a:r>
                  </a:p>
                </c:rich>
              </c:tx>
              <c:dLblPos val="t"/>
              <c:showLegendKey val="0"/>
              <c:showVal val="1"/>
              <c:showCatName val="0"/>
              <c:showSerName val="0"/>
              <c:showPercent val="0"/>
              <c:showBubbleSize val="0"/>
            </c:dLbl>
            <c:dLbl>
              <c:idx val="6"/>
              <c:tx>
                <c:rich>
                  <a:bodyPr/>
                  <a:lstStyle/>
                  <a:p>
                    <a:r>
                      <a:t>1365.39</a:t>
                    </a:r>
                  </a:p>
                </c:rich>
              </c:tx>
              <c:dLblPos val="t"/>
              <c:showLegendKey val="0"/>
              <c:showVal val="1"/>
              <c:showCatName val="0"/>
              <c:showSerName val="0"/>
              <c:showPercent val="0"/>
              <c:showBubbleSize val="0"/>
            </c:dLbl>
            <c:dLbl>
              <c:idx val="7"/>
              <c:tx>
                <c:rich>
                  <a:bodyPr/>
                  <a:lstStyle/>
                  <a:p>
                    <a:r>
                      <a:t>1379.53</a:t>
                    </a:r>
                  </a:p>
                </c:rich>
              </c:tx>
              <c:dLblPos val="t"/>
              <c:showLegendKey val="0"/>
              <c:showVal val="1"/>
              <c:showCatName val="0"/>
              <c:showSerName val="0"/>
              <c:showPercent val="0"/>
              <c:showBubbleSize val="0"/>
            </c:dLbl>
            <c:dLbl>
              <c:idx val="8"/>
              <c:tx>
                <c:rich>
                  <a:bodyPr/>
                  <a:lstStyle/>
                  <a:p>
                    <a:r>
                      <a:t>10403.24</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No Spray Crema</c:v>
                  </c:pt>
                  <c:pt idx="2">
                    <c:v>No Spray Liquido</c:v>
                  </c:pt>
                  <c:pt idx="4">
                    <c:v>No Spray Gel</c:v>
                  </c:pt>
                  <c:pt idx="6">
                    <c:v>Spray Liquido</c:v>
                  </c:pt>
                  <c:pt idx="8">
                    <c:v>No Spray Fluido</c:v>
                  </c:pt>
                </c:lvl>
              </c:multiLvlStrCache>
            </c:multiLvlStrRef>
          </c:cat>
          <c:val>
            <c:numRef>
              <c:f>Sheet1!$D$2:$D$11</c:f>
              <c:numCache>
                <c:formatCode>General</c:formatCode>
                <c:ptCount val="10"/>
                <c:pt idx="0">
                  <c:v>1654.489</c:v>
                </c:pt>
                <c:pt idx="1">
                  <c:v>1164.4725</c:v>
                </c:pt>
                <c:pt idx="2">
                  <c:v>1370.5171</c:v>
                </c:pt>
                <c:pt idx="3">
                  <c:v>1219.8733</c:v>
                </c:pt>
                <c:pt idx="4">
                  <c:v>1376.4056</c:v>
                </c:pt>
                <c:pt idx="5">
                  <c:v>715.7183</c:v>
                </c:pt>
                <c:pt idx="6">
                  <c:v>1365.392</c:v>
                </c:pt>
                <c:pt idx="7">
                  <c:v>1379.5272</c:v>
                </c:pt>
                <c:pt idx="8">
                  <c:v>10403.2416</c:v>
                </c:pt>
                <c:pt idx="9">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No Spray Crema</c:v>
                  </c:pt>
                  <c:pt idx="2">
                    <c:v>No Spray Liquido</c:v>
                  </c:pt>
                  <c:pt idx="4">
                    <c:v>No Spray Gel</c:v>
                  </c:pt>
                  <c:pt idx="6">
                    <c:v>No Spray Fluido</c:v>
                  </c:pt>
                  <c:pt idx="8">
                    <c:v>Spray Liquido</c:v>
                  </c:pt>
                </c:lvl>
              </c:multiLvlStrCache>
            </c:multiLvlStrRef>
          </c:cat>
          <c:val>
            <c:numRef>
              <c:f>Sheet1!$C$2:$C$11</c:f>
              <c:numCache>
                <c:formatCode>General</c:formatCode>
                <c:ptCount val="10"/>
                <c:pt idx="0">
                  <c:v>150.7</c:v>
                </c:pt>
                <c:pt idx="1">
                  <c:v>8.7</c:v>
                </c:pt>
                <c:pt idx="2">
                  <c:v>53.5</c:v>
                </c:pt>
                <c:pt idx="3">
                  <c:v>19.9</c:v>
                </c:pt>
                <c:pt idx="4">
                  <c:v>27.7</c:v>
                </c:pt>
                <c:pt idx="5">
                  <c:v>0.7</c:v>
                </c:pt>
                <c:pt idx="6">
                  <c:v>21.2</c:v>
                </c:pt>
                <c:pt idx="7">
                  <c:v>0.0</c:v>
                </c:pt>
                <c:pt idx="8">
                  <c:v>15.3</c:v>
                </c:pt>
                <c:pt idx="9">
                  <c:v>4.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036.55</a:t>
                    </a:r>
                  </a:p>
                </c:rich>
              </c:tx>
              <c:dLblPos val="t"/>
              <c:showLegendKey val="0"/>
              <c:showVal val="1"/>
              <c:showCatName val="0"/>
              <c:showSerName val="0"/>
              <c:showPercent val="0"/>
              <c:showBubbleSize val="0"/>
            </c:dLbl>
            <c:dLbl>
              <c:idx val="1"/>
              <c:tx>
                <c:rich>
                  <a:bodyPr/>
                  <a:lstStyle/>
                  <a:p>
                    <a:r>
                      <a:t>1159.32</a:t>
                    </a:r>
                  </a:p>
                </c:rich>
              </c:tx>
              <c:dLblPos val="t"/>
              <c:showLegendKey val="0"/>
              <c:showVal val="1"/>
              <c:showCatName val="0"/>
              <c:showSerName val="0"/>
              <c:showPercent val="0"/>
              <c:showBubbleSize val="0"/>
            </c:dLbl>
            <c:dLbl>
              <c:idx val="2"/>
              <c:tx>
                <c:rich>
                  <a:bodyPr/>
                  <a:lstStyle/>
                  <a:p>
                    <a:r>
                      <a:t>1379.37</a:t>
                    </a:r>
                  </a:p>
                </c:rich>
              </c:tx>
              <c:dLblPos val="t"/>
              <c:showLegendKey val="0"/>
              <c:showVal val="1"/>
              <c:showCatName val="0"/>
              <c:showSerName val="0"/>
              <c:showPercent val="0"/>
              <c:showBubbleSize val="0"/>
            </c:dLbl>
            <c:dLbl>
              <c:idx val="3"/>
              <c:tx>
                <c:rich>
                  <a:bodyPr/>
                  <a:lstStyle/>
                  <a:p>
                    <a:r>
                      <a:t>1162.79</a:t>
                    </a:r>
                  </a:p>
                </c:rich>
              </c:tx>
              <c:dLblPos val="t"/>
              <c:showLegendKey val="0"/>
              <c:showVal val="1"/>
              <c:showCatName val="0"/>
              <c:showSerName val="0"/>
              <c:showPercent val="0"/>
              <c:showBubbleSize val="0"/>
            </c:dLbl>
            <c:dLbl>
              <c:idx val="4"/>
              <c:tx>
                <c:rich>
                  <a:bodyPr/>
                  <a:lstStyle/>
                  <a:p>
                    <a:r>
                      <a:t>1767.52</a:t>
                    </a:r>
                  </a:p>
                </c:rich>
              </c:tx>
              <c:dLblPos val="t"/>
              <c:showLegendKey val="0"/>
              <c:showVal val="1"/>
              <c:showCatName val="0"/>
              <c:showSerName val="0"/>
              <c:showPercent val="0"/>
              <c:showBubbleSize val="0"/>
            </c:dLbl>
            <c:dLbl>
              <c:idx val="5"/>
              <c:tx>
                <c:rich>
                  <a:bodyPr/>
                  <a:lstStyle/>
                  <a:p>
                    <a:r>
                      <a:t>625.26</a:t>
                    </a:r>
                  </a:p>
                </c:rich>
              </c:tx>
              <c:dLblPos val="t"/>
              <c:showLegendKey val="0"/>
              <c:showVal val="1"/>
              <c:showCatName val="0"/>
              <c:showSerName val="0"/>
              <c:showPercent val="0"/>
              <c:showBubbleSize val="0"/>
            </c:dLbl>
            <c:dLbl>
              <c:idx val="6"/>
              <c:tx>
                <c:rich>
                  <a:bodyPr/>
                  <a:lstStyle/>
                  <a:p>
                    <a:r>
                      <a:t>10681.68</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dLbl>
              <c:idx val="8"/>
              <c:tx>
                <c:rich>
                  <a:bodyPr/>
                  <a:lstStyle/>
                  <a:p>
                    <a:r>
                      <a:t>1409.26</a:t>
                    </a:r>
                  </a:p>
                </c:rich>
              </c:tx>
              <c:dLblPos val="t"/>
              <c:showLegendKey val="0"/>
              <c:showVal val="1"/>
              <c:showCatName val="0"/>
              <c:showSerName val="0"/>
              <c:showPercent val="0"/>
              <c:showBubbleSize val="0"/>
            </c:dLbl>
            <c:dLbl>
              <c:idx val="9"/>
              <c:tx>
                <c:rich>
                  <a:bodyPr/>
                  <a:lstStyle/>
                  <a:p>
                    <a:r>
                      <a:t>1266.67</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No Spray Crema</c:v>
                  </c:pt>
                  <c:pt idx="2">
                    <c:v>No Spray Liquido</c:v>
                  </c:pt>
                  <c:pt idx="4">
                    <c:v>No Spray Gel</c:v>
                  </c:pt>
                  <c:pt idx="6">
                    <c:v>No Spray Fluido</c:v>
                  </c:pt>
                  <c:pt idx="8">
                    <c:v>Spray Liquido</c:v>
                  </c:pt>
                </c:lvl>
              </c:multiLvlStrCache>
            </c:multiLvlStrRef>
          </c:cat>
          <c:val>
            <c:numRef>
              <c:f>Sheet1!$D$2:$D$11</c:f>
              <c:numCache>
                <c:formatCode>General</c:formatCode>
                <c:ptCount val="10"/>
                <c:pt idx="0">
                  <c:v>2036.5506</c:v>
                </c:pt>
                <c:pt idx="1">
                  <c:v>1159.3208</c:v>
                </c:pt>
                <c:pt idx="2">
                  <c:v>1379.3695</c:v>
                </c:pt>
                <c:pt idx="3">
                  <c:v>1162.7892</c:v>
                </c:pt>
                <c:pt idx="4">
                  <c:v>1767.5198</c:v>
                </c:pt>
                <c:pt idx="5">
                  <c:v>625.2639</c:v>
                </c:pt>
                <c:pt idx="6">
                  <c:v>10681.6818</c:v>
                </c:pt>
                <c:pt idx="7">
                  <c:v>0.0</c:v>
                </c:pt>
                <c:pt idx="8">
                  <c:v>1409.2646</c:v>
                </c:pt>
                <c:pt idx="9">
                  <c:v>1266.666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No Spray Crema</c:v>
                  </c:pt>
                  <c:pt idx="2">
                    <c:v>No Spray Liquido</c:v>
                  </c:pt>
                  <c:pt idx="4">
                    <c:v>Spray Liquido</c:v>
                  </c:pt>
                  <c:pt idx="6">
                    <c:v>No Spray Gel</c:v>
                  </c:pt>
                  <c:pt idx="8">
                    <c:v>No Spray Locion</c:v>
                  </c:pt>
                </c:lvl>
              </c:multiLvlStrCache>
            </c:multiLvlStrRef>
          </c:cat>
          <c:val>
            <c:numRef>
              <c:f>Sheet1!$C$2:$C$11</c:f>
              <c:numCache>
                <c:formatCode>General</c:formatCode>
                <c:ptCount val="10"/>
                <c:pt idx="0">
                  <c:v>112.3</c:v>
                </c:pt>
                <c:pt idx="1">
                  <c:v>13.5</c:v>
                </c:pt>
                <c:pt idx="2">
                  <c:v>68.6</c:v>
                </c:pt>
                <c:pt idx="3">
                  <c:v>23.2</c:v>
                </c:pt>
                <c:pt idx="4">
                  <c:v>31.1</c:v>
                </c:pt>
                <c:pt idx="5">
                  <c:v>9.9</c:v>
                </c:pt>
                <c:pt idx="6">
                  <c:v>27.5</c:v>
                </c:pt>
                <c:pt idx="7">
                  <c:v>2.9</c:v>
                </c:pt>
                <c:pt idx="8">
                  <c:v>8.5</c:v>
                </c:pt>
                <c:pt idx="9">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28.34</a:t>
                    </a:r>
                  </a:p>
                </c:rich>
              </c:tx>
              <c:dLblPos val="t"/>
              <c:showLegendKey val="0"/>
              <c:showVal val="1"/>
              <c:showCatName val="0"/>
              <c:showSerName val="0"/>
              <c:showPercent val="0"/>
              <c:showBubbleSize val="0"/>
            </c:dLbl>
            <c:dLbl>
              <c:idx val="1"/>
              <c:tx>
                <c:rich>
                  <a:bodyPr/>
                  <a:lstStyle/>
                  <a:p>
                    <a:r>
                      <a:t>1136.8</a:t>
                    </a:r>
                  </a:p>
                </c:rich>
              </c:tx>
              <c:dLblPos val="t"/>
              <c:showLegendKey val="0"/>
              <c:showVal val="1"/>
              <c:showCatName val="0"/>
              <c:showSerName val="0"/>
              <c:showPercent val="0"/>
              <c:showBubbleSize val="0"/>
            </c:dLbl>
            <c:dLbl>
              <c:idx val="2"/>
              <c:tx>
                <c:rich>
                  <a:bodyPr/>
                  <a:lstStyle/>
                  <a:p>
                    <a:r>
                      <a:t>1293.91</a:t>
                    </a:r>
                  </a:p>
                </c:rich>
              </c:tx>
              <c:dLblPos val="t"/>
              <c:showLegendKey val="0"/>
              <c:showVal val="1"/>
              <c:showCatName val="0"/>
              <c:showSerName val="0"/>
              <c:showPercent val="0"/>
              <c:showBubbleSize val="0"/>
            </c:dLbl>
            <c:dLbl>
              <c:idx val="3"/>
              <c:tx>
                <c:rich>
                  <a:bodyPr/>
                  <a:lstStyle/>
                  <a:p>
                    <a:r>
                      <a:t>1131.66</a:t>
                    </a:r>
                  </a:p>
                </c:rich>
              </c:tx>
              <c:dLblPos val="t"/>
              <c:showLegendKey val="0"/>
              <c:showVal val="1"/>
              <c:showCatName val="0"/>
              <c:showSerName val="0"/>
              <c:showPercent val="0"/>
              <c:showBubbleSize val="0"/>
            </c:dLbl>
            <c:dLbl>
              <c:idx val="4"/>
              <c:tx>
                <c:rich>
                  <a:bodyPr/>
                  <a:lstStyle/>
                  <a:p>
                    <a:r>
                      <a:t>1366.22</a:t>
                    </a:r>
                  </a:p>
                </c:rich>
              </c:tx>
              <c:dLblPos val="t"/>
              <c:showLegendKey val="0"/>
              <c:showVal val="1"/>
              <c:showCatName val="0"/>
              <c:showSerName val="0"/>
              <c:showPercent val="0"/>
              <c:showBubbleSize val="0"/>
            </c:dLbl>
            <c:dLbl>
              <c:idx val="5"/>
              <c:tx>
                <c:rich>
                  <a:bodyPr/>
                  <a:lstStyle/>
                  <a:p>
                    <a:r>
                      <a:t>1369.15</a:t>
                    </a:r>
                  </a:p>
                </c:rich>
              </c:tx>
              <c:dLblPos val="t"/>
              <c:showLegendKey val="0"/>
              <c:showVal val="1"/>
              <c:showCatName val="0"/>
              <c:showSerName val="0"/>
              <c:showPercent val="0"/>
              <c:showBubbleSize val="0"/>
            </c:dLbl>
            <c:dLbl>
              <c:idx val="6"/>
              <c:tx>
                <c:rich>
                  <a:bodyPr/>
                  <a:lstStyle/>
                  <a:p>
                    <a:r>
                      <a:t>1096.72</a:t>
                    </a:r>
                  </a:p>
                </c:rich>
              </c:tx>
              <c:dLblPos val="t"/>
              <c:showLegendKey val="0"/>
              <c:showVal val="1"/>
              <c:showCatName val="0"/>
              <c:showSerName val="0"/>
              <c:showPercent val="0"/>
              <c:showBubbleSize val="0"/>
            </c:dLbl>
            <c:dLbl>
              <c:idx val="7"/>
              <c:tx>
                <c:rich>
                  <a:bodyPr/>
                  <a:lstStyle/>
                  <a:p>
                    <a:r>
                      <a:t>627.84</a:t>
                    </a:r>
                  </a:p>
                </c:rich>
              </c:tx>
              <c:dLblPos val="t"/>
              <c:showLegendKey val="0"/>
              <c:showVal val="1"/>
              <c:showCatName val="0"/>
              <c:showSerName val="0"/>
              <c:showPercent val="0"/>
              <c:showBubbleSize val="0"/>
            </c:dLbl>
            <c:dLbl>
              <c:idx val="8"/>
              <c:tx>
                <c:rich>
                  <a:bodyPr/>
                  <a:lstStyle/>
                  <a:p>
                    <a:r>
                      <a:t>1295.2</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No Spray Crema</c:v>
                  </c:pt>
                  <c:pt idx="2">
                    <c:v>No Spray Liquido</c:v>
                  </c:pt>
                  <c:pt idx="4">
                    <c:v>Spray Liquido</c:v>
                  </c:pt>
                  <c:pt idx="6">
                    <c:v>No Spray Gel</c:v>
                  </c:pt>
                  <c:pt idx="8">
                    <c:v>No Spray Locion</c:v>
                  </c:pt>
                </c:lvl>
              </c:multiLvlStrCache>
            </c:multiLvlStrRef>
          </c:cat>
          <c:val>
            <c:numRef>
              <c:f>Sheet1!$D$2:$D$11</c:f>
              <c:numCache>
                <c:formatCode>General</c:formatCode>
                <c:ptCount val="10"/>
                <c:pt idx="0">
                  <c:v>1328.3386</c:v>
                </c:pt>
                <c:pt idx="1">
                  <c:v>1136.8002</c:v>
                </c:pt>
                <c:pt idx="2">
                  <c:v>1293.9094</c:v>
                </c:pt>
                <c:pt idx="3">
                  <c:v>1131.6577</c:v>
                </c:pt>
                <c:pt idx="4">
                  <c:v>1366.2236</c:v>
                </c:pt>
                <c:pt idx="5">
                  <c:v>1369.1459</c:v>
                </c:pt>
                <c:pt idx="6">
                  <c:v>1096.7208</c:v>
                </c:pt>
                <c:pt idx="7">
                  <c:v>627.8382</c:v>
                </c:pt>
                <c:pt idx="8">
                  <c:v>1295.199</c:v>
                </c:pt>
                <c:pt idx="9">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No Spray Crema</c:v>
                  </c:pt>
                  <c:pt idx="2">
                    <c:v>No Spray Liquido</c:v>
                  </c:pt>
                  <c:pt idx="4">
                    <c:v>No Spray Gel</c:v>
                  </c:pt>
                  <c:pt idx="6">
                    <c:v>Spray Liquido</c:v>
                  </c:pt>
                  <c:pt idx="8">
                    <c:v>No Spray Fluido</c:v>
                  </c:pt>
                </c:lvl>
              </c:multiLvlStrCache>
            </c:multiLvlStrRef>
          </c:cat>
          <c:val>
            <c:numRef>
              <c:f>Sheet1!$C$2:$C$11</c:f>
              <c:numCache>
                <c:formatCode>General</c:formatCode>
                <c:ptCount val="10"/>
                <c:pt idx="0">
                  <c:v>126.0</c:v>
                </c:pt>
                <c:pt idx="1">
                  <c:v>13.0</c:v>
                </c:pt>
                <c:pt idx="2">
                  <c:v>61.7</c:v>
                </c:pt>
                <c:pt idx="3">
                  <c:v>21.7</c:v>
                </c:pt>
                <c:pt idx="4">
                  <c:v>25.2</c:v>
                </c:pt>
                <c:pt idx="5">
                  <c:v>1.2</c:v>
                </c:pt>
                <c:pt idx="6">
                  <c:v>17.1</c:v>
                </c:pt>
                <c:pt idx="7">
                  <c:v>4.5</c:v>
                </c:pt>
                <c:pt idx="8">
                  <c:v>9.0</c:v>
                </c:pt>
                <c:pt idx="9">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32.6</a:t>
                    </a:r>
                  </a:p>
                </c:rich>
              </c:tx>
              <c:dLblPos val="t"/>
              <c:showLegendKey val="0"/>
              <c:showVal val="1"/>
              <c:showCatName val="0"/>
              <c:showSerName val="0"/>
              <c:showPercent val="0"/>
              <c:showBubbleSize val="0"/>
            </c:dLbl>
            <c:dLbl>
              <c:idx val="1"/>
              <c:tx>
                <c:rich>
                  <a:bodyPr/>
                  <a:lstStyle/>
                  <a:p>
                    <a:r>
                      <a:t>1148.07</a:t>
                    </a:r>
                  </a:p>
                </c:rich>
              </c:tx>
              <c:dLblPos val="t"/>
              <c:showLegendKey val="0"/>
              <c:showVal val="1"/>
              <c:showCatName val="0"/>
              <c:showSerName val="0"/>
              <c:showPercent val="0"/>
              <c:showBubbleSize val="0"/>
            </c:dLbl>
            <c:dLbl>
              <c:idx val="2"/>
              <c:tx>
                <c:rich>
                  <a:bodyPr/>
                  <a:lstStyle/>
                  <a:p>
                    <a:r>
                      <a:t>1356.78</a:t>
                    </a:r>
                  </a:p>
                </c:rich>
              </c:tx>
              <c:dLblPos val="t"/>
              <c:showLegendKey val="0"/>
              <c:showVal val="1"/>
              <c:showCatName val="0"/>
              <c:showSerName val="0"/>
              <c:showPercent val="0"/>
              <c:showBubbleSize val="0"/>
            </c:dLbl>
            <c:dLbl>
              <c:idx val="3"/>
              <c:tx>
                <c:rich>
                  <a:bodyPr/>
                  <a:lstStyle/>
                  <a:p>
                    <a:r>
                      <a:t>1187.58</a:t>
                    </a:r>
                  </a:p>
                </c:rich>
              </c:tx>
              <c:dLblPos val="t"/>
              <c:showLegendKey val="0"/>
              <c:showVal val="1"/>
              <c:showCatName val="0"/>
              <c:showSerName val="0"/>
              <c:showPercent val="0"/>
              <c:showBubbleSize val="0"/>
            </c:dLbl>
            <c:dLbl>
              <c:idx val="4"/>
              <c:tx>
                <c:rich>
                  <a:bodyPr/>
                  <a:lstStyle/>
                  <a:p>
                    <a:r>
                      <a:t>1409.56</a:t>
                    </a:r>
                  </a:p>
                </c:rich>
              </c:tx>
              <c:dLblPos val="t"/>
              <c:showLegendKey val="0"/>
              <c:showVal val="1"/>
              <c:showCatName val="0"/>
              <c:showSerName val="0"/>
              <c:showPercent val="0"/>
              <c:showBubbleSize val="0"/>
            </c:dLbl>
            <c:dLbl>
              <c:idx val="5"/>
              <c:tx>
                <c:rich>
                  <a:bodyPr/>
                  <a:lstStyle/>
                  <a:p>
                    <a:r>
                      <a:t>706.2</a:t>
                    </a:r>
                  </a:p>
                </c:rich>
              </c:tx>
              <c:dLblPos val="t"/>
              <c:showLegendKey val="0"/>
              <c:showVal val="1"/>
              <c:showCatName val="0"/>
              <c:showSerName val="0"/>
              <c:showPercent val="0"/>
              <c:showBubbleSize val="0"/>
            </c:dLbl>
            <c:dLbl>
              <c:idx val="6"/>
              <c:tx>
                <c:rich>
                  <a:bodyPr/>
                  <a:lstStyle/>
                  <a:p>
                    <a:r>
                      <a:t>1378.81</a:t>
                    </a:r>
                  </a:p>
                </c:rich>
              </c:tx>
              <c:dLblPos val="t"/>
              <c:showLegendKey val="0"/>
              <c:showVal val="1"/>
              <c:showCatName val="0"/>
              <c:showSerName val="0"/>
              <c:showPercent val="0"/>
              <c:showBubbleSize val="0"/>
            </c:dLbl>
            <c:dLbl>
              <c:idx val="7"/>
              <c:tx>
                <c:rich>
                  <a:bodyPr/>
                  <a:lstStyle/>
                  <a:p>
                    <a:r>
                      <a:t>1395.94</a:t>
                    </a:r>
                  </a:p>
                </c:rich>
              </c:tx>
              <c:dLblPos val="t"/>
              <c:showLegendKey val="0"/>
              <c:showVal val="1"/>
              <c:showCatName val="0"/>
              <c:showSerName val="0"/>
              <c:showPercent val="0"/>
              <c:showBubbleSize val="0"/>
            </c:dLbl>
            <c:dLbl>
              <c:idx val="8"/>
              <c:tx>
                <c:rich>
                  <a:bodyPr/>
                  <a:lstStyle/>
                  <a:p>
                    <a:r>
                      <a:t>11757.14</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No Spray Crema</c:v>
                  </c:pt>
                  <c:pt idx="2">
                    <c:v>No Spray Liquido</c:v>
                  </c:pt>
                  <c:pt idx="4">
                    <c:v>No Spray Gel</c:v>
                  </c:pt>
                  <c:pt idx="6">
                    <c:v>Spray Liquido</c:v>
                  </c:pt>
                  <c:pt idx="8">
                    <c:v>No Spray Fluido</c:v>
                  </c:pt>
                </c:lvl>
              </c:multiLvlStrCache>
            </c:multiLvlStrRef>
          </c:cat>
          <c:val>
            <c:numRef>
              <c:f>Sheet1!$D$2:$D$11</c:f>
              <c:numCache>
                <c:formatCode>General</c:formatCode>
                <c:ptCount val="10"/>
                <c:pt idx="0">
                  <c:v>1532.6046</c:v>
                </c:pt>
                <c:pt idx="1">
                  <c:v>1148.0746</c:v>
                </c:pt>
                <c:pt idx="2">
                  <c:v>1356.777</c:v>
                </c:pt>
                <c:pt idx="3">
                  <c:v>1187.5843</c:v>
                </c:pt>
                <c:pt idx="4">
                  <c:v>1409.5581</c:v>
                </c:pt>
                <c:pt idx="5">
                  <c:v>706.2023</c:v>
                </c:pt>
                <c:pt idx="6">
                  <c:v>1378.8089</c:v>
                </c:pt>
                <c:pt idx="7">
                  <c:v>1395.939</c:v>
                </c:pt>
                <c:pt idx="8">
                  <c:v>11757.1438</c:v>
                </c:pt>
                <c:pt idx="9">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No Spray Crema</c:v>
                  </c:pt>
                  <c:pt idx="2">
                    <c:v>No Spray Liquido</c:v>
                  </c:pt>
                  <c:pt idx="4">
                    <c:v>Spray Liquido</c:v>
                  </c:pt>
                  <c:pt idx="6">
                    <c:v>No Spray Gel</c:v>
                  </c:pt>
                  <c:pt idx="8">
                    <c:v>No Spray Locion</c:v>
                  </c:pt>
                </c:lvl>
              </c:multiLvlStrCache>
            </c:multiLvlStrRef>
          </c:cat>
          <c:val>
            <c:numRef>
              <c:f>Sheet1!$C$2:$C$11</c:f>
              <c:numCache>
                <c:formatCode>General</c:formatCode>
                <c:ptCount val="10"/>
                <c:pt idx="0">
                  <c:v>116.9</c:v>
                </c:pt>
                <c:pt idx="1">
                  <c:v>13.5</c:v>
                </c:pt>
                <c:pt idx="2">
                  <c:v>56.1</c:v>
                </c:pt>
                <c:pt idx="3">
                  <c:v>22.7</c:v>
                </c:pt>
                <c:pt idx="4">
                  <c:v>24.2</c:v>
                </c:pt>
                <c:pt idx="5">
                  <c:v>7.9</c:v>
                </c:pt>
                <c:pt idx="6">
                  <c:v>20.7</c:v>
                </c:pt>
                <c:pt idx="7">
                  <c:v>1.6</c:v>
                </c:pt>
                <c:pt idx="8">
                  <c:v>8.8</c:v>
                </c:pt>
                <c:pt idx="9">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34.65</a:t>
                    </a:r>
                  </a:p>
                </c:rich>
              </c:tx>
              <c:dLblPos val="t"/>
              <c:showLegendKey val="0"/>
              <c:showVal val="1"/>
              <c:showCatName val="0"/>
              <c:showSerName val="0"/>
              <c:showPercent val="0"/>
              <c:showBubbleSize val="0"/>
            </c:dLbl>
            <c:dLbl>
              <c:idx val="1"/>
              <c:tx>
                <c:rich>
                  <a:bodyPr/>
                  <a:lstStyle/>
                  <a:p>
                    <a:r>
                      <a:t>1179.61</a:t>
                    </a:r>
                  </a:p>
                </c:rich>
              </c:tx>
              <c:dLblPos val="t"/>
              <c:showLegendKey val="0"/>
              <c:showVal val="1"/>
              <c:showCatName val="0"/>
              <c:showSerName val="0"/>
              <c:showPercent val="0"/>
              <c:showBubbleSize val="0"/>
            </c:dLbl>
            <c:dLbl>
              <c:idx val="2"/>
              <c:tx>
                <c:rich>
                  <a:bodyPr/>
                  <a:lstStyle/>
                  <a:p>
                    <a:r>
                      <a:t>1376.76</a:t>
                    </a:r>
                  </a:p>
                </c:rich>
              </c:tx>
              <c:dLblPos val="t"/>
              <c:showLegendKey val="0"/>
              <c:showVal val="1"/>
              <c:showCatName val="0"/>
              <c:showSerName val="0"/>
              <c:showPercent val="0"/>
              <c:showBubbleSize val="0"/>
            </c:dLbl>
            <c:dLbl>
              <c:idx val="3"/>
              <c:tx>
                <c:rich>
                  <a:bodyPr/>
                  <a:lstStyle/>
                  <a:p>
                    <a:r>
                      <a:t>1220.92</a:t>
                    </a:r>
                  </a:p>
                </c:rich>
              </c:tx>
              <c:dLblPos val="t"/>
              <c:showLegendKey val="0"/>
              <c:showVal val="1"/>
              <c:showCatName val="0"/>
              <c:showSerName val="0"/>
              <c:showPercent val="0"/>
              <c:showBubbleSize val="0"/>
            </c:dLbl>
            <c:dLbl>
              <c:idx val="4"/>
              <c:tx>
                <c:rich>
                  <a:bodyPr/>
                  <a:lstStyle/>
                  <a:p>
                    <a:r>
                      <a:t>1460.51</a:t>
                    </a:r>
                  </a:p>
                </c:rich>
              </c:tx>
              <c:dLblPos val="t"/>
              <c:showLegendKey val="0"/>
              <c:showVal val="1"/>
              <c:showCatName val="0"/>
              <c:showSerName val="0"/>
              <c:showPercent val="0"/>
              <c:showBubbleSize val="0"/>
            </c:dLbl>
            <c:dLbl>
              <c:idx val="5"/>
              <c:tx>
                <c:rich>
                  <a:bodyPr/>
                  <a:lstStyle/>
                  <a:p>
                    <a:r>
                      <a:t>1475.18</a:t>
                    </a:r>
                  </a:p>
                </c:rich>
              </c:tx>
              <c:dLblPos val="t"/>
              <c:showLegendKey val="0"/>
              <c:showVal val="1"/>
              <c:showCatName val="0"/>
              <c:showSerName val="0"/>
              <c:showPercent val="0"/>
              <c:showBubbleSize val="0"/>
            </c:dLbl>
            <c:dLbl>
              <c:idx val="6"/>
              <c:tx>
                <c:rich>
                  <a:bodyPr/>
                  <a:lstStyle/>
                  <a:p>
                    <a:r>
                      <a:t>1360.15</a:t>
                    </a:r>
                  </a:p>
                </c:rich>
              </c:tx>
              <c:dLblPos val="t"/>
              <c:showLegendKey val="0"/>
              <c:showVal val="1"/>
              <c:showCatName val="0"/>
              <c:showSerName val="0"/>
              <c:showPercent val="0"/>
              <c:showBubbleSize val="0"/>
            </c:dLbl>
            <c:dLbl>
              <c:idx val="7"/>
              <c:tx>
                <c:rich>
                  <a:bodyPr/>
                  <a:lstStyle/>
                  <a:p>
                    <a:r>
                      <a:t>705.32</a:t>
                    </a:r>
                  </a:p>
                </c:rich>
              </c:tx>
              <c:dLblPos val="t"/>
              <c:showLegendKey val="0"/>
              <c:showVal val="1"/>
              <c:showCatName val="0"/>
              <c:showSerName val="0"/>
              <c:showPercent val="0"/>
              <c:showBubbleSize val="0"/>
            </c:dLbl>
            <c:dLbl>
              <c:idx val="8"/>
              <c:tx>
                <c:rich>
                  <a:bodyPr/>
                  <a:lstStyle/>
                  <a:p>
                    <a:r>
                      <a:t>1409.54</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No Spray Crema</c:v>
                  </c:pt>
                  <c:pt idx="2">
                    <c:v>No Spray Liquido</c:v>
                  </c:pt>
                  <c:pt idx="4">
                    <c:v>Spray Liquido</c:v>
                  </c:pt>
                  <c:pt idx="6">
                    <c:v>No Spray Gel</c:v>
                  </c:pt>
                  <c:pt idx="8">
                    <c:v>No Spray Locion</c:v>
                  </c:pt>
                </c:lvl>
              </c:multiLvlStrCache>
            </c:multiLvlStrRef>
          </c:cat>
          <c:val>
            <c:numRef>
              <c:f>Sheet1!$D$2:$D$11</c:f>
              <c:numCache>
                <c:formatCode>General</c:formatCode>
                <c:ptCount val="10"/>
                <c:pt idx="0">
                  <c:v>1534.6503</c:v>
                </c:pt>
                <c:pt idx="1">
                  <c:v>1179.6086</c:v>
                </c:pt>
                <c:pt idx="2">
                  <c:v>1376.7646</c:v>
                </c:pt>
                <c:pt idx="3">
                  <c:v>1220.9173</c:v>
                </c:pt>
                <c:pt idx="4">
                  <c:v>1460.5051</c:v>
                </c:pt>
                <c:pt idx="5">
                  <c:v>1475.1786</c:v>
                </c:pt>
                <c:pt idx="6">
                  <c:v>1360.1494</c:v>
                </c:pt>
                <c:pt idx="7">
                  <c:v>705.3218</c:v>
                </c:pt>
                <c:pt idx="8">
                  <c:v>1409.5431</c:v>
                </c:pt>
                <c:pt idx="9">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94551AF-6C4C-4069-AEF2-B1439521F0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C6DC57C6-BCE2-46EF-BC38-E0A737B4EC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DA23A32C-7566-4996-B46C-6B853820F8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CF3D9298-961E-4D1F-A4E5-EF0E269F45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F9249D07-096B-4E7E-A43B-2B1AADA9E2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CCBB2E0E-60C7-45DE-A476-A4351C9BB5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909A0245-C84B-46DE-B1B8-2DCDEF024F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D9BB8E61-9A0D-4A4E-A223-36B52F1ED6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21.1562</c:v>
                </c:pt>
                <c:pt idx="1">
                  <c:v>278.1296</c:v>
                </c:pt>
                <c:pt idx="2">
                  <c:v>484.3873</c:v>
                </c:pt>
                <c:pt idx="3">
                  <c:v>494.6894</c:v>
                </c:pt>
                <c:pt idx="4">
                  <c:v>171.5474</c:v>
                </c:pt>
                <c:pt idx="5">
                  <c:v>472.3294</c:v>
                </c:pt>
              </c:numCache>
            </c:numRef>
          </c:xVal>
          <c:yVal>
            <c:numRef>
              <c:f>Sheet1!$B$2:$B$7</c:f>
              <c:numCache>
                <c:formatCode>General</c:formatCode>
                <c:ptCount val="6"/>
                <c:pt idx="0">
                  <c:v>3.914</c:v>
                </c:pt>
                <c:pt idx="1">
                  <c:v>0.692</c:v>
                </c:pt>
                <c:pt idx="2">
                  <c:v>2.883</c:v>
                </c:pt>
                <c:pt idx="3">
                  <c:v>8.904</c:v>
                </c:pt>
                <c:pt idx="4">
                  <c:v>0.313</c:v>
                </c:pt>
                <c:pt idx="5">
                  <c:v>17.264</c:v>
                </c:pt>
              </c:numCache>
            </c:numRef>
          </c:yVal>
          <c:bubbleSize>
            <c:numRef>
              <c:f>Sheet1!$C$2:$C$7</c:f>
              <c:numCache>
                <c:formatCode>General</c:formatCode>
                <c:ptCount val="6"/>
                <c:pt idx="0">
                  <c:v>473321</c:v>
                </c:pt>
                <c:pt idx="1">
                  <c:v>212491</c:v>
                </c:pt>
                <c:pt idx="2">
                  <c:v>167598</c:v>
                </c:pt>
                <c:pt idx="3">
                  <c:v>144944</c:v>
                </c:pt>
                <c:pt idx="4">
                  <c:v>81485</c:v>
                </c:pt>
                <c:pt idx="5">
                  <c:v>4014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45.0"/>
          <c:min val="137.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No Spray Crema</c:v>
                  </c:pt>
                  <c:pt idx="2">
                    <c:v>No Spray Liquido</c:v>
                  </c:pt>
                  <c:pt idx="4">
                    <c:v>Spray Liquido</c:v>
                  </c:pt>
                  <c:pt idx="6">
                    <c:v>No Spray Gel</c:v>
                  </c:pt>
                  <c:pt idx="8">
                    <c:v>No Spray Locion</c:v>
                  </c:pt>
                </c:lvl>
              </c:multiLvlStrCache>
            </c:multiLvlStrRef>
          </c:cat>
          <c:val>
            <c:numRef>
              <c:f>Sheet1!$C$2:$C$11</c:f>
              <c:numCache>
                <c:formatCode>General</c:formatCode>
                <c:ptCount val="10"/>
                <c:pt idx="0">
                  <c:v>79.1</c:v>
                </c:pt>
                <c:pt idx="1">
                  <c:v>9.8</c:v>
                </c:pt>
                <c:pt idx="2">
                  <c:v>44.5</c:v>
                </c:pt>
                <c:pt idx="3">
                  <c:v>14.2</c:v>
                </c:pt>
                <c:pt idx="4">
                  <c:v>24.6</c:v>
                </c:pt>
                <c:pt idx="5">
                  <c:v>8.0</c:v>
                </c:pt>
                <c:pt idx="6">
                  <c:v>15.5</c:v>
                </c:pt>
                <c:pt idx="7">
                  <c:v>1.2</c:v>
                </c:pt>
                <c:pt idx="8">
                  <c:v>5.7</c:v>
                </c:pt>
                <c:pt idx="9">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64.02</a:t>
                    </a:r>
                  </a:p>
                </c:rich>
              </c:tx>
              <c:dLblPos val="t"/>
              <c:showLegendKey val="0"/>
              <c:showVal val="1"/>
              <c:showCatName val="0"/>
              <c:showSerName val="0"/>
              <c:showPercent val="0"/>
              <c:showBubbleSize val="0"/>
            </c:dLbl>
            <c:dLbl>
              <c:idx val="1"/>
              <c:tx>
                <c:rich>
                  <a:bodyPr/>
                  <a:lstStyle/>
                  <a:p>
                    <a:r>
                      <a:t>1164.88</a:t>
                    </a:r>
                  </a:p>
                </c:rich>
              </c:tx>
              <c:dLblPos val="t"/>
              <c:showLegendKey val="0"/>
              <c:showVal val="1"/>
              <c:showCatName val="0"/>
              <c:showSerName val="0"/>
              <c:showPercent val="0"/>
              <c:showBubbleSize val="0"/>
            </c:dLbl>
            <c:dLbl>
              <c:idx val="2"/>
              <c:tx>
                <c:rich>
                  <a:bodyPr/>
                  <a:lstStyle/>
                  <a:p>
                    <a:r>
                      <a:t>1380.4</a:t>
                    </a:r>
                  </a:p>
                </c:rich>
              </c:tx>
              <c:dLblPos val="t"/>
              <c:showLegendKey val="0"/>
              <c:showVal val="1"/>
              <c:showCatName val="0"/>
              <c:showSerName val="0"/>
              <c:showPercent val="0"/>
              <c:showBubbleSize val="0"/>
            </c:dLbl>
            <c:dLbl>
              <c:idx val="3"/>
              <c:tx>
                <c:rich>
                  <a:bodyPr/>
                  <a:lstStyle/>
                  <a:p>
                    <a:r>
                      <a:t>1224.15</a:t>
                    </a:r>
                  </a:p>
                </c:rich>
              </c:tx>
              <c:dLblPos val="t"/>
              <c:showLegendKey val="0"/>
              <c:showVal val="1"/>
              <c:showCatName val="0"/>
              <c:showSerName val="0"/>
              <c:showPercent val="0"/>
              <c:showBubbleSize val="0"/>
            </c:dLbl>
            <c:dLbl>
              <c:idx val="4"/>
              <c:tx>
                <c:rich>
                  <a:bodyPr/>
                  <a:lstStyle/>
                  <a:p>
                    <a:r>
                      <a:t>1444.43</a:t>
                    </a:r>
                  </a:p>
                </c:rich>
              </c:tx>
              <c:dLblPos val="t"/>
              <c:showLegendKey val="0"/>
              <c:showVal val="1"/>
              <c:showCatName val="0"/>
              <c:showSerName val="0"/>
              <c:showPercent val="0"/>
              <c:showBubbleSize val="0"/>
            </c:dLbl>
            <c:dLbl>
              <c:idx val="5"/>
              <c:tx>
                <c:rich>
                  <a:bodyPr/>
                  <a:lstStyle/>
                  <a:p>
                    <a:r>
                      <a:t>1464.35</a:t>
                    </a:r>
                  </a:p>
                </c:rich>
              </c:tx>
              <c:dLblPos val="t"/>
              <c:showLegendKey val="0"/>
              <c:showVal val="1"/>
              <c:showCatName val="0"/>
              <c:showSerName val="0"/>
              <c:showPercent val="0"/>
              <c:showBubbleSize val="0"/>
            </c:dLbl>
            <c:dLbl>
              <c:idx val="6"/>
              <c:tx>
                <c:rich>
                  <a:bodyPr/>
                  <a:lstStyle/>
                  <a:p>
                    <a:r>
                      <a:t>1303.04</a:t>
                    </a:r>
                  </a:p>
                </c:rich>
              </c:tx>
              <c:dLblPos val="t"/>
              <c:showLegendKey val="0"/>
              <c:showVal val="1"/>
              <c:showCatName val="0"/>
              <c:showSerName val="0"/>
              <c:showPercent val="0"/>
              <c:showBubbleSize val="0"/>
            </c:dLbl>
            <c:dLbl>
              <c:idx val="7"/>
              <c:tx>
                <c:rich>
                  <a:bodyPr/>
                  <a:lstStyle/>
                  <a:p>
                    <a:r>
                      <a:t>710.19</a:t>
                    </a:r>
                  </a:p>
                </c:rich>
              </c:tx>
              <c:dLblPos val="t"/>
              <c:showLegendKey val="0"/>
              <c:showVal val="1"/>
              <c:showCatName val="0"/>
              <c:showSerName val="0"/>
              <c:showPercent val="0"/>
              <c:showBubbleSize val="0"/>
            </c:dLbl>
            <c:dLbl>
              <c:idx val="8"/>
              <c:tx>
                <c:rich>
                  <a:bodyPr/>
                  <a:lstStyle/>
                  <a:p>
                    <a:r>
                      <a:t>1471.52</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Hawaiian Tropic</c:v>
                  </c:pt>
                  <c:pt idx="2">
                    <c:v>Total</c:v>
                  </c:pt>
                  <c:pt idx="3">
                    <c:v>Hawaiian Tropic</c:v>
                  </c:pt>
                  <c:pt idx="4">
                    <c:v>Total</c:v>
                  </c:pt>
                  <c:pt idx="5">
                    <c:v>Hawaiian Tropic</c:v>
                  </c:pt>
                  <c:pt idx="6">
                    <c:v>Total</c:v>
                  </c:pt>
                  <c:pt idx="7">
                    <c:v>Hawaiian Tropic</c:v>
                  </c:pt>
                  <c:pt idx="8">
                    <c:v>Total</c:v>
                  </c:pt>
                  <c:pt idx="9">
                    <c:v>Hawaiian Tropic</c:v>
                  </c:pt>
                </c:lvl>
                <c:lvl>
                  <c:pt idx="0">
                    <c:v>No Spray Crema</c:v>
                  </c:pt>
                  <c:pt idx="2">
                    <c:v>No Spray Liquido</c:v>
                  </c:pt>
                  <c:pt idx="4">
                    <c:v>Spray Liquido</c:v>
                  </c:pt>
                  <c:pt idx="6">
                    <c:v>No Spray Gel</c:v>
                  </c:pt>
                  <c:pt idx="8">
                    <c:v>No Spray Locion</c:v>
                  </c:pt>
                </c:lvl>
              </c:multiLvlStrCache>
            </c:multiLvlStrRef>
          </c:cat>
          <c:val>
            <c:numRef>
              <c:f>Sheet1!$D$2:$D$11</c:f>
              <c:numCache>
                <c:formatCode>General</c:formatCode>
                <c:ptCount val="10"/>
                <c:pt idx="0">
                  <c:v>1564.0227</c:v>
                </c:pt>
                <c:pt idx="1">
                  <c:v>1164.8844</c:v>
                </c:pt>
                <c:pt idx="2">
                  <c:v>1380.4037</c:v>
                </c:pt>
                <c:pt idx="3">
                  <c:v>1224.1476</c:v>
                </c:pt>
                <c:pt idx="4">
                  <c:v>1444.4341</c:v>
                </c:pt>
                <c:pt idx="5">
                  <c:v>1464.348</c:v>
                </c:pt>
                <c:pt idx="6">
                  <c:v>1303.0379</c:v>
                </c:pt>
                <c:pt idx="7">
                  <c:v>710.1911</c:v>
                </c:pt>
                <c:pt idx="8">
                  <c:v>1471.5245</c:v>
                </c:pt>
                <c:pt idx="9">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No Spray Crema</c:v>
                  </c:pt>
                  <c:pt idx="2">
                    <c:v>No Spray Liquido</c:v>
                  </c:pt>
                  <c:pt idx="4">
                    <c:v>No Spray Gel</c:v>
                  </c:pt>
                  <c:pt idx="6">
                    <c:v>Spray Liquido</c:v>
                  </c:pt>
                  <c:pt idx="8">
                    <c:v>No Spray Fluido</c:v>
                  </c:pt>
                </c:lvl>
              </c:multiLvlStrCache>
            </c:multiLvlStrRef>
          </c:cat>
          <c:val>
            <c:numRef>
              <c:f>Sheet1!$C$2:$C$11</c:f>
              <c:numCache>
                <c:formatCode>General</c:formatCode>
                <c:ptCount val="10"/>
                <c:pt idx="0">
                  <c:v>756.5</c:v>
                </c:pt>
                <c:pt idx="1">
                  <c:v>66.0</c:v>
                </c:pt>
                <c:pt idx="2">
                  <c:v>368.2</c:v>
                </c:pt>
                <c:pt idx="3">
                  <c:v>29.0</c:v>
                </c:pt>
                <c:pt idx="4">
                  <c:v>146.8</c:v>
                </c:pt>
                <c:pt idx="5">
                  <c:v>7.4</c:v>
                </c:pt>
                <c:pt idx="6">
                  <c:v>133.7</c:v>
                </c:pt>
                <c:pt idx="7">
                  <c:v>38.1</c:v>
                </c:pt>
                <c:pt idx="8">
                  <c:v>56.8</c:v>
                </c:pt>
                <c:pt idx="9">
                  <c:v>0.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05.63</a:t>
                    </a:r>
                  </a:p>
                </c:rich>
              </c:tx>
              <c:dLblPos val="t"/>
              <c:showLegendKey val="0"/>
              <c:showVal val="1"/>
              <c:showCatName val="0"/>
              <c:showSerName val="0"/>
              <c:showPercent val="0"/>
              <c:showBubbleSize val="0"/>
            </c:dLbl>
            <c:dLbl>
              <c:idx val="1"/>
              <c:tx>
                <c:rich>
                  <a:bodyPr/>
                  <a:lstStyle/>
                  <a:p>
                    <a:r>
                      <a:t>1058.68</a:t>
                    </a:r>
                  </a:p>
                </c:rich>
              </c:tx>
              <c:dLblPos val="t"/>
              <c:showLegendKey val="0"/>
              <c:showVal val="1"/>
              <c:showCatName val="0"/>
              <c:showSerName val="0"/>
              <c:showPercent val="0"/>
              <c:showBubbleSize val="0"/>
            </c:dLbl>
            <c:dLbl>
              <c:idx val="2"/>
              <c:tx>
                <c:rich>
                  <a:bodyPr/>
                  <a:lstStyle/>
                  <a:p>
                    <a:r>
                      <a:t>1356.64</a:t>
                    </a:r>
                  </a:p>
                </c:rich>
              </c:tx>
              <c:dLblPos val="t"/>
              <c:showLegendKey val="0"/>
              <c:showVal val="1"/>
              <c:showCatName val="0"/>
              <c:showSerName val="0"/>
              <c:showPercent val="0"/>
              <c:showBubbleSize val="0"/>
            </c:dLbl>
            <c:dLbl>
              <c:idx val="3"/>
              <c:tx>
                <c:rich>
                  <a:bodyPr/>
                  <a:lstStyle/>
                  <a:p>
                    <a:r>
                      <a:t>1106.3</a:t>
                    </a:r>
                  </a:p>
                </c:rich>
              </c:tx>
              <c:dLblPos val="t"/>
              <c:showLegendKey val="0"/>
              <c:showVal val="1"/>
              <c:showCatName val="0"/>
              <c:showSerName val="0"/>
              <c:showPercent val="0"/>
              <c:showBubbleSize val="0"/>
            </c:dLbl>
            <c:dLbl>
              <c:idx val="4"/>
              <c:tx>
                <c:rich>
                  <a:bodyPr/>
                  <a:lstStyle/>
                  <a:p>
                    <a:r>
                      <a:t>1363.31</a:t>
                    </a:r>
                  </a:p>
                </c:rich>
              </c:tx>
              <c:dLblPos val="t"/>
              <c:showLegendKey val="0"/>
              <c:showVal val="1"/>
              <c:showCatName val="0"/>
              <c:showSerName val="0"/>
              <c:showPercent val="0"/>
              <c:showBubbleSize val="0"/>
            </c:dLbl>
            <c:dLbl>
              <c:idx val="5"/>
              <c:tx>
                <c:rich>
                  <a:bodyPr/>
                  <a:lstStyle/>
                  <a:p>
                    <a:r>
                      <a:t>439.69</a:t>
                    </a:r>
                  </a:p>
                </c:rich>
              </c:tx>
              <c:dLblPos val="t"/>
              <c:showLegendKey val="0"/>
              <c:showVal val="1"/>
              <c:showCatName val="0"/>
              <c:showSerName val="0"/>
              <c:showPercent val="0"/>
              <c:showBubbleSize val="0"/>
            </c:dLbl>
            <c:dLbl>
              <c:idx val="6"/>
              <c:tx>
                <c:rich>
                  <a:bodyPr/>
                  <a:lstStyle/>
                  <a:p>
                    <a:r>
                      <a:t>1403.03</a:t>
                    </a:r>
                  </a:p>
                </c:rich>
              </c:tx>
              <c:dLblPos val="t"/>
              <c:showLegendKey val="0"/>
              <c:showVal val="1"/>
              <c:showCatName val="0"/>
              <c:showSerName val="0"/>
              <c:showPercent val="0"/>
              <c:showBubbleSize val="0"/>
            </c:dLbl>
            <c:dLbl>
              <c:idx val="7"/>
              <c:tx>
                <c:rich>
                  <a:bodyPr/>
                  <a:lstStyle/>
                  <a:p>
                    <a:r>
                      <a:t>1266.06</a:t>
                    </a:r>
                  </a:p>
                </c:rich>
              </c:tx>
              <c:dLblPos val="t"/>
              <c:showLegendKey val="0"/>
              <c:showVal val="1"/>
              <c:showCatName val="0"/>
              <c:showSerName val="0"/>
              <c:showPercent val="0"/>
              <c:showBubbleSize val="0"/>
            </c:dLbl>
            <c:dLbl>
              <c:idx val="8"/>
              <c:tx>
                <c:rich>
                  <a:bodyPr/>
                  <a:lstStyle/>
                  <a:p>
                    <a:r>
                      <a:t>10910.92</a:t>
                    </a:r>
                  </a:p>
                </c:rich>
              </c:tx>
              <c:dLblPos val="t"/>
              <c:showLegendKey val="0"/>
              <c:showVal val="1"/>
              <c:showCatName val="0"/>
              <c:showSerName val="0"/>
              <c:showPercent val="0"/>
              <c:showBubbleSize val="0"/>
            </c:dLbl>
            <c:dLbl>
              <c:idx val="9"/>
              <c:tx>
                <c:rich>
                  <a:bodyPr/>
                  <a:lstStyle/>
                  <a:p>
                    <a:r>
                      <a:t>5633.8</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No Spray Crema</c:v>
                  </c:pt>
                  <c:pt idx="2">
                    <c:v>No Spray Liquido</c:v>
                  </c:pt>
                  <c:pt idx="4">
                    <c:v>No Spray Gel</c:v>
                  </c:pt>
                  <c:pt idx="6">
                    <c:v>Spray Liquido</c:v>
                  </c:pt>
                  <c:pt idx="8">
                    <c:v>No Spray Fluido</c:v>
                  </c:pt>
                </c:lvl>
              </c:multiLvlStrCache>
            </c:multiLvlStrRef>
          </c:cat>
          <c:val>
            <c:numRef>
              <c:f>Sheet1!$D$2:$D$11</c:f>
              <c:numCache>
                <c:formatCode>General</c:formatCode>
                <c:ptCount val="10"/>
                <c:pt idx="0">
                  <c:v>1605.6335</c:v>
                </c:pt>
                <c:pt idx="1">
                  <c:v>1058.6785</c:v>
                </c:pt>
                <c:pt idx="2">
                  <c:v>1356.6373</c:v>
                </c:pt>
                <c:pt idx="3">
                  <c:v>1106.3019</c:v>
                </c:pt>
                <c:pt idx="4">
                  <c:v>1363.3117</c:v>
                </c:pt>
                <c:pt idx="5">
                  <c:v>439.6945</c:v>
                </c:pt>
                <c:pt idx="6">
                  <c:v>1403.0264</c:v>
                </c:pt>
                <c:pt idx="7">
                  <c:v>1266.0626</c:v>
                </c:pt>
                <c:pt idx="8">
                  <c:v>10910.9212</c:v>
                </c:pt>
                <c:pt idx="9">
                  <c:v>5633.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No Spray Crema</c:v>
                  </c:pt>
                  <c:pt idx="2">
                    <c:v>No Spray Liquido</c:v>
                  </c:pt>
                  <c:pt idx="4">
                    <c:v>No Spray Gel</c:v>
                  </c:pt>
                  <c:pt idx="6">
                    <c:v>Spray Liquido</c:v>
                  </c:pt>
                  <c:pt idx="8">
                    <c:v>No Spray Fluido</c:v>
                  </c:pt>
                </c:lvl>
              </c:multiLvlStrCache>
            </c:multiLvlStrRef>
          </c:cat>
          <c:val>
            <c:numRef>
              <c:f>Sheet1!$C$2:$C$11</c:f>
              <c:numCache>
                <c:formatCode>General</c:formatCode>
                <c:ptCount val="10"/>
                <c:pt idx="0">
                  <c:v>171.4</c:v>
                </c:pt>
                <c:pt idx="1">
                  <c:v>13.9</c:v>
                </c:pt>
                <c:pt idx="2">
                  <c:v>83.9</c:v>
                </c:pt>
                <c:pt idx="3">
                  <c:v>7.4</c:v>
                </c:pt>
                <c:pt idx="4">
                  <c:v>30.3</c:v>
                </c:pt>
                <c:pt idx="5">
                  <c:v>1.7</c:v>
                </c:pt>
                <c:pt idx="6">
                  <c:v>21.3</c:v>
                </c:pt>
                <c:pt idx="7">
                  <c:v>5.2</c:v>
                </c:pt>
                <c:pt idx="8">
                  <c:v>11.2</c:v>
                </c:pt>
                <c:pt idx="9">
                  <c:v>0.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54.49</a:t>
                    </a:r>
                  </a:p>
                </c:rich>
              </c:tx>
              <c:dLblPos val="t"/>
              <c:showLegendKey val="0"/>
              <c:showVal val="1"/>
              <c:showCatName val="0"/>
              <c:showSerName val="0"/>
              <c:showPercent val="0"/>
              <c:showBubbleSize val="0"/>
            </c:dLbl>
            <c:dLbl>
              <c:idx val="1"/>
              <c:tx>
                <c:rich>
                  <a:bodyPr/>
                  <a:lstStyle/>
                  <a:p>
                    <a:r>
                      <a:t>1064.3</a:t>
                    </a:r>
                  </a:p>
                </c:rich>
              </c:tx>
              <c:dLblPos val="t"/>
              <c:showLegendKey val="0"/>
              <c:showVal val="1"/>
              <c:showCatName val="0"/>
              <c:showSerName val="0"/>
              <c:showPercent val="0"/>
              <c:showBubbleSize val="0"/>
            </c:dLbl>
            <c:dLbl>
              <c:idx val="2"/>
              <c:tx>
                <c:rich>
                  <a:bodyPr/>
                  <a:lstStyle/>
                  <a:p>
                    <a:r>
                      <a:t>1370.52</a:t>
                    </a:r>
                  </a:p>
                </c:rich>
              </c:tx>
              <c:dLblPos val="t"/>
              <c:showLegendKey val="0"/>
              <c:showVal val="1"/>
              <c:showCatName val="0"/>
              <c:showSerName val="0"/>
              <c:showPercent val="0"/>
              <c:showBubbleSize val="0"/>
            </c:dLbl>
            <c:dLbl>
              <c:idx val="3"/>
              <c:tx>
                <c:rich>
                  <a:bodyPr/>
                  <a:lstStyle/>
                  <a:p>
                    <a:r>
                      <a:t>1071.07</a:t>
                    </a:r>
                  </a:p>
                </c:rich>
              </c:tx>
              <c:dLblPos val="t"/>
              <c:showLegendKey val="0"/>
              <c:showVal val="1"/>
              <c:showCatName val="0"/>
              <c:showSerName val="0"/>
              <c:showPercent val="0"/>
              <c:showBubbleSize val="0"/>
            </c:dLbl>
            <c:dLbl>
              <c:idx val="4"/>
              <c:tx>
                <c:rich>
                  <a:bodyPr/>
                  <a:lstStyle/>
                  <a:p>
                    <a:r>
                      <a:t>1376.41</a:t>
                    </a:r>
                  </a:p>
                </c:rich>
              </c:tx>
              <c:dLblPos val="t"/>
              <c:showLegendKey val="0"/>
              <c:showVal val="1"/>
              <c:showCatName val="0"/>
              <c:showSerName val="0"/>
              <c:showPercent val="0"/>
              <c:showBubbleSize val="0"/>
            </c:dLbl>
            <c:dLbl>
              <c:idx val="5"/>
              <c:tx>
                <c:rich>
                  <a:bodyPr/>
                  <a:lstStyle/>
                  <a:p>
                    <a:r>
                      <a:t>431.06</a:t>
                    </a:r>
                  </a:p>
                </c:rich>
              </c:tx>
              <c:dLblPos val="t"/>
              <c:showLegendKey val="0"/>
              <c:showVal val="1"/>
              <c:showCatName val="0"/>
              <c:showSerName val="0"/>
              <c:showPercent val="0"/>
              <c:showBubbleSize val="0"/>
            </c:dLbl>
            <c:dLbl>
              <c:idx val="6"/>
              <c:tx>
                <c:rich>
                  <a:bodyPr/>
                  <a:lstStyle/>
                  <a:p>
                    <a:r>
                      <a:t>1365.39</a:t>
                    </a:r>
                  </a:p>
                </c:rich>
              </c:tx>
              <c:dLblPos val="t"/>
              <c:showLegendKey val="0"/>
              <c:showVal val="1"/>
              <c:showCatName val="0"/>
              <c:showSerName val="0"/>
              <c:showPercent val="0"/>
              <c:showBubbleSize val="0"/>
            </c:dLbl>
            <c:dLbl>
              <c:idx val="7"/>
              <c:tx>
                <c:rich>
                  <a:bodyPr/>
                  <a:lstStyle/>
                  <a:p>
                    <a:r>
                      <a:t>1142.96</a:t>
                    </a:r>
                  </a:p>
                </c:rich>
              </c:tx>
              <c:dLblPos val="t"/>
              <c:showLegendKey val="0"/>
              <c:showVal val="1"/>
              <c:showCatName val="0"/>
              <c:showSerName val="0"/>
              <c:showPercent val="0"/>
              <c:showBubbleSize val="0"/>
            </c:dLbl>
            <c:dLbl>
              <c:idx val="8"/>
              <c:tx>
                <c:rich>
                  <a:bodyPr/>
                  <a:lstStyle/>
                  <a:p>
                    <a:r>
                      <a:t>10403.24</a:t>
                    </a:r>
                  </a:p>
                </c:rich>
              </c:tx>
              <c:dLblPos val="t"/>
              <c:showLegendKey val="0"/>
              <c:showVal val="1"/>
              <c:showCatName val="0"/>
              <c:showSerName val="0"/>
              <c:showPercent val="0"/>
              <c:showBubbleSize val="0"/>
            </c:dLbl>
            <c:dLbl>
              <c:idx val="9"/>
              <c:tx>
                <c:rich>
                  <a:bodyPr/>
                  <a:lstStyle/>
                  <a:p>
                    <a:r>
                      <a:t>5413.5</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No Spray Crema</c:v>
                  </c:pt>
                  <c:pt idx="2">
                    <c:v>No Spray Liquido</c:v>
                  </c:pt>
                  <c:pt idx="4">
                    <c:v>No Spray Gel</c:v>
                  </c:pt>
                  <c:pt idx="6">
                    <c:v>Spray Liquido</c:v>
                  </c:pt>
                  <c:pt idx="8">
                    <c:v>No Spray Fluido</c:v>
                  </c:pt>
                </c:lvl>
              </c:multiLvlStrCache>
            </c:multiLvlStrRef>
          </c:cat>
          <c:val>
            <c:numRef>
              <c:f>Sheet1!$D$2:$D$11</c:f>
              <c:numCache>
                <c:formatCode>General</c:formatCode>
                <c:ptCount val="10"/>
                <c:pt idx="0">
                  <c:v>1654.489</c:v>
                </c:pt>
                <c:pt idx="1">
                  <c:v>1064.3045</c:v>
                </c:pt>
                <c:pt idx="2">
                  <c:v>1370.5171</c:v>
                </c:pt>
                <c:pt idx="3">
                  <c:v>1071.0653</c:v>
                </c:pt>
                <c:pt idx="4">
                  <c:v>1376.4056</c:v>
                </c:pt>
                <c:pt idx="5">
                  <c:v>431.0601</c:v>
                </c:pt>
                <c:pt idx="6">
                  <c:v>1365.392</c:v>
                </c:pt>
                <c:pt idx="7">
                  <c:v>1142.9572</c:v>
                </c:pt>
                <c:pt idx="8">
                  <c:v>10403.2416</c:v>
                </c:pt>
                <c:pt idx="9">
                  <c:v>5413.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No Spray Crema</c:v>
                  </c:pt>
                  <c:pt idx="2">
                    <c:v>No Spray Liquido</c:v>
                  </c:pt>
                  <c:pt idx="4">
                    <c:v>No Spray Gel</c:v>
                  </c:pt>
                  <c:pt idx="6">
                    <c:v>No Spray Fluido</c:v>
                  </c:pt>
                  <c:pt idx="8">
                    <c:v>Spray Liquido</c:v>
                  </c:pt>
                </c:lvl>
              </c:multiLvlStrCache>
            </c:multiLvlStrRef>
          </c:cat>
          <c:val>
            <c:numRef>
              <c:f>Sheet1!$C$2:$C$11</c:f>
              <c:numCache>
                <c:formatCode>General</c:formatCode>
                <c:ptCount val="10"/>
                <c:pt idx="0">
                  <c:v>150.7</c:v>
                </c:pt>
                <c:pt idx="1">
                  <c:v>10.2</c:v>
                </c:pt>
                <c:pt idx="2">
                  <c:v>53.5</c:v>
                </c:pt>
                <c:pt idx="3">
                  <c:v>5.6</c:v>
                </c:pt>
                <c:pt idx="4">
                  <c:v>27.7</c:v>
                </c:pt>
                <c:pt idx="5">
                  <c:v>0.9</c:v>
                </c:pt>
                <c:pt idx="6">
                  <c:v>21.2</c:v>
                </c:pt>
                <c:pt idx="7">
                  <c:v>0.1</c:v>
                </c:pt>
                <c:pt idx="8">
                  <c:v>15.3</c:v>
                </c:pt>
                <c:pt idx="9">
                  <c:v>4.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036.55</a:t>
                    </a:r>
                  </a:p>
                </c:rich>
              </c:tx>
              <c:dLblPos val="t"/>
              <c:showLegendKey val="0"/>
              <c:showVal val="1"/>
              <c:showCatName val="0"/>
              <c:showSerName val="0"/>
              <c:showPercent val="0"/>
              <c:showBubbleSize val="0"/>
            </c:dLbl>
            <c:dLbl>
              <c:idx val="1"/>
              <c:tx>
                <c:rich>
                  <a:bodyPr/>
                  <a:lstStyle/>
                  <a:p>
                    <a:r>
                      <a:t>1026.96</a:t>
                    </a:r>
                  </a:p>
                </c:rich>
              </c:tx>
              <c:dLblPos val="t"/>
              <c:showLegendKey val="0"/>
              <c:showVal val="1"/>
              <c:showCatName val="0"/>
              <c:showSerName val="0"/>
              <c:showPercent val="0"/>
              <c:showBubbleSize val="0"/>
            </c:dLbl>
            <c:dLbl>
              <c:idx val="2"/>
              <c:tx>
                <c:rich>
                  <a:bodyPr/>
                  <a:lstStyle/>
                  <a:p>
                    <a:r>
                      <a:t>1379.37</a:t>
                    </a:r>
                  </a:p>
                </c:rich>
              </c:tx>
              <c:dLblPos val="t"/>
              <c:showLegendKey val="0"/>
              <c:showVal val="1"/>
              <c:showCatName val="0"/>
              <c:showSerName val="0"/>
              <c:showPercent val="0"/>
              <c:showBubbleSize val="0"/>
            </c:dLbl>
            <c:dLbl>
              <c:idx val="3"/>
              <c:tx>
                <c:rich>
                  <a:bodyPr/>
                  <a:lstStyle/>
                  <a:p>
                    <a:r>
                      <a:t>1137.98</a:t>
                    </a:r>
                  </a:p>
                </c:rich>
              </c:tx>
              <c:dLblPos val="t"/>
              <c:showLegendKey val="0"/>
              <c:showVal val="1"/>
              <c:showCatName val="0"/>
              <c:showSerName val="0"/>
              <c:showPercent val="0"/>
              <c:showBubbleSize val="0"/>
            </c:dLbl>
            <c:dLbl>
              <c:idx val="4"/>
              <c:tx>
                <c:rich>
                  <a:bodyPr/>
                  <a:lstStyle/>
                  <a:p>
                    <a:r>
                      <a:t>1767.52</a:t>
                    </a:r>
                  </a:p>
                </c:rich>
              </c:tx>
              <c:dLblPos val="t"/>
              <c:showLegendKey val="0"/>
              <c:showVal val="1"/>
              <c:showCatName val="0"/>
              <c:showSerName val="0"/>
              <c:showPercent val="0"/>
              <c:showBubbleSize val="0"/>
            </c:dLbl>
            <c:dLbl>
              <c:idx val="5"/>
              <c:tx>
                <c:rich>
                  <a:bodyPr/>
                  <a:lstStyle/>
                  <a:p>
                    <a:r>
                      <a:t>482.24</a:t>
                    </a:r>
                  </a:p>
                </c:rich>
              </c:tx>
              <c:dLblPos val="t"/>
              <c:showLegendKey val="0"/>
              <c:showVal val="1"/>
              <c:showCatName val="0"/>
              <c:showSerName val="0"/>
              <c:showPercent val="0"/>
              <c:showBubbleSize val="0"/>
            </c:dLbl>
            <c:dLbl>
              <c:idx val="6"/>
              <c:tx>
                <c:rich>
                  <a:bodyPr/>
                  <a:lstStyle/>
                  <a:p>
                    <a:r>
                      <a:t>10681.68</a:t>
                    </a:r>
                  </a:p>
                </c:rich>
              </c:tx>
              <c:dLblPos val="t"/>
              <c:showLegendKey val="0"/>
              <c:showVal val="1"/>
              <c:showCatName val="0"/>
              <c:showSerName val="0"/>
              <c:showPercent val="0"/>
              <c:showBubbleSize val="0"/>
            </c:dLbl>
            <c:dLbl>
              <c:idx val="7"/>
              <c:tx>
                <c:rich>
                  <a:bodyPr/>
                  <a:lstStyle/>
                  <a:p>
                    <a:r>
                      <a:t>5846.71</a:t>
                    </a:r>
                  </a:p>
                </c:rich>
              </c:tx>
              <c:dLblPos val="t"/>
              <c:showLegendKey val="0"/>
              <c:showVal val="1"/>
              <c:showCatName val="0"/>
              <c:showSerName val="0"/>
              <c:showPercent val="0"/>
              <c:showBubbleSize val="0"/>
            </c:dLbl>
            <c:dLbl>
              <c:idx val="8"/>
              <c:tx>
                <c:rich>
                  <a:bodyPr/>
                  <a:lstStyle/>
                  <a:p>
                    <a:r>
                      <a:t>1409.26</a:t>
                    </a:r>
                  </a:p>
                </c:rich>
              </c:tx>
              <c:dLblPos val="t"/>
              <c:showLegendKey val="0"/>
              <c:showVal val="1"/>
              <c:showCatName val="0"/>
              <c:showSerName val="0"/>
              <c:showPercent val="0"/>
              <c:showBubbleSize val="0"/>
            </c:dLbl>
            <c:dLbl>
              <c:idx val="9"/>
              <c:tx>
                <c:rich>
                  <a:bodyPr/>
                  <a:lstStyle/>
                  <a:p>
                    <a:r>
                      <a:t>1142.42</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No Spray Crema</c:v>
                  </c:pt>
                  <c:pt idx="2">
                    <c:v>No Spray Liquido</c:v>
                  </c:pt>
                  <c:pt idx="4">
                    <c:v>No Spray Gel</c:v>
                  </c:pt>
                  <c:pt idx="6">
                    <c:v>No Spray Fluido</c:v>
                  </c:pt>
                  <c:pt idx="8">
                    <c:v>Spray Liquido</c:v>
                  </c:pt>
                </c:lvl>
              </c:multiLvlStrCache>
            </c:multiLvlStrRef>
          </c:cat>
          <c:val>
            <c:numRef>
              <c:f>Sheet1!$D$2:$D$11</c:f>
              <c:numCache>
                <c:formatCode>General</c:formatCode>
                <c:ptCount val="10"/>
                <c:pt idx="0">
                  <c:v>2036.5506</c:v>
                </c:pt>
                <c:pt idx="1">
                  <c:v>1026.9552</c:v>
                </c:pt>
                <c:pt idx="2">
                  <c:v>1379.3695</c:v>
                </c:pt>
                <c:pt idx="3">
                  <c:v>1137.9819</c:v>
                </c:pt>
                <c:pt idx="4">
                  <c:v>1767.5198</c:v>
                </c:pt>
                <c:pt idx="5">
                  <c:v>482.2408</c:v>
                </c:pt>
                <c:pt idx="6">
                  <c:v>10681.6818</c:v>
                </c:pt>
                <c:pt idx="7">
                  <c:v>5846.7143</c:v>
                </c:pt>
                <c:pt idx="8">
                  <c:v>1409.2646</c:v>
                </c:pt>
                <c:pt idx="9">
                  <c:v>1142.41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No Spray Crema</c:v>
                  </c:pt>
                  <c:pt idx="2">
                    <c:v>No Spray Liquido</c:v>
                  </c:pt>
                  <c:pt idx="4">
                    <c:v>Spray Liquido</c:v>
                  </c:pt>
                  <c:pt idx="6">
                    <c:v>No Spray Gel</c:v>
                  </c:pt>
                  <c:pt idx="8">
                    <c:v>No Spray Locion</c:v>
                  </c:pt>
                </c:lvl>
              </c:multiLvlStrCache>
            </c:multiLvlStrRef>
          </c:cat>
          <c:val>
            <c:numRef>
              <c:f>Sheet1!$C$2:$C$11</c:f>
              <c:numCache>
                <c:formatCode>General</c:formatCode>
                <c:ptCount val="10"/>
                <c:pt idx="0">
                  <c:v>112.3</c:v>
                </c:pt>
                <c:pt idx="1">
                  <c:v>9.8</c:v>
                </c:pt>
                <c:pt idx="2">
                  <c:v>68.6</c:v>
                </c:pt>
                <c:pt idx="3">
                  <c:v>3.4</c:v>
                </c:pt>
                <c:pt idx="4">
                  <c:v>31.1</c:v>
                </c:pt>
                <c:pt idx="5">
                  <c:v>7.9</c:v>
                </c:pt>
                <c:pt idx="6">
                  <c:v>27.5</c:v>
                </c:pt>
                <c:pt idx="7">
                  <c:v>1.3</c:v>
                </c:pt>
                <c:pt idx="8">
                  <c:v>8.5</c:v>
                </c:pt>
                <c:pt idx="9">
                  <c:v>5.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28.34</a:t>
                    </a:r>
                  </a:p>
                </c:rich>
              </c:tx>
              <c:dLblPos val="t"/>
              <c:showLegendKey val="0"/>
              <c:showVal val="1"/>
              <c:showCatName val="0"/>
              <c:showSerName val="0"/>
              <c:showPercent val="0"/>
              <c:showBubbleSize val="0"/>
            </c:dLbl>
            <c:dLbl>
              <c:idx val="1"/>
              <c:tx>
                <c:rich>
                  <a:bodyPr/>
                  <a:lstStyle/>
                  <a:p>
                    <a:r>
                      <a:t>1034.78</a:t>
                    </a:r>
                  </a:p>
                </c:rich>
              </c:tx>
              <c:dLblPos val="t"/>
              <c:showLegendKey val="0"/>
              <c:showVal val="1"/>
              <c:showCatName val="0"/>
              <c:showSerName val="0"/>
              <c:showPercent val="0"/>
              <c:showBubbleSize val="0"/>
            </c:dLbl>
            <c:dLbl>
              <c:idx val="2"/>
              <c:tx>
                <c:rich>
                  <a:bodyPr/>
                  <a:lstStyle/>
                  <a:p>
                    <a:r>
                      <a:t>1293.91</a:t>
                    </a:r>
                  </a:p>
                </c:rich>
              </c:tx>
              <c:dLblPos val="t"/>
              <c:showLegendKey val="0"/>
              <c:showVal val="1"/>
              <c:showCatName val="0"/>
              <c:showSerName val="0"/>
              <c:showPercent val="0"/>
              <c:showBubbleSize val="0"/>
            </c:dLbl>
            <c:dLbl>
              <c:idx val="3"/>
              <c:tx>
                <c:rich>
                  <a:bodyPr/>
                  <a:lstStyle/>
                  <a:p>
                    <a:r>
                      <a:t>1131.81</a:t>
                    </a:r>
                  </a:p>
                </c:rich>
              </c:tx>
              <c:dLblPos val="t"/>
              <c:showLegendKey val="0"/>
              <c:showVal val="1"/>
              <c:showCatName val="0"/>
              <c:showSerName val="0"/>
              <c:showPercent val="0"/>
              <c:showBubbleSize val="0"/>
            </c:dLbl>
            <c:dLbl>
              <c:idx val="4"/>
              <c:tx>
                <c:rich>
                  <a:bodyPr/>
                  <a:lstStyle/>
                  <a:p>
                    <a:r>
                      <a:t>1366.22</a:t>
                    </a:r>
                  </a:p>
                </c:rich>
              </c:tx>
              <c:dLblPos val="t"/>
              <c:showLegendKey val="0"/>
              <c:showVal val="1"/>
              <c:showCatName val="0"/>
              <c:showSerName val="0"/>
              <c:showPercent val="0"/>
              <c:showBubbleSize val="0"/>
            </c:dLbl>
            <c:dLbl>
              <c:idx val="5"/>
              <c:tx>
                <c:rich>
                  <a:bodyPr/>
                  <a:lstStyle/>
                  <a:p>
                    <a:r>
                      <a:t>1254.49</a:t>
                    </a:r>
                  </a:p>
                </c:rich>
              </c:tx>
              <c:dLblPos val="t"/>
              <c:showLegendKey val="0"/>
              <c:showVal val="1"/>
              <c:showCatName val="0"/>
              <c:showSerName val="0"/>
              <c:showPercent val="0"/>
              <c:showBubbleSize val="0"/>
            </c:dLbl>
            <c:dLbl>
              <c:idx val="6"/>
              <c:tx>
                <c:rich>
                  <a:bodyPr/>
                  <a:lstStyle/>
                  <a:p>
                    <a:r>
                      <a:t>1096.72</a:t>
                    </a:r>
                  </a:p>
                </c:rich>
              </c:tx>
              <c:dLblPos val="t"/>
              <c:showLegendKey val="0"/>
              <c:showVal val="1"/>
              <c:showCatName val="0"/>
              <c:showSerName val="0"/>
              <c:showPercent val="0"/>
              <c:showBubbleSize val="0"/>
            </c:dLbl>
            <c:dLbl>
              <c:idx val="7"/>
              <c:tx>
                <c:rich>
                  <a:bodyPr/>
                  <a:lstStyle/>
                  <a:p>
                    <a:r>
                      <a:t>424.46</a:t>
                    </a:r>
                  </a:p>
                </c:rich>
              </c:tx>
              <c:dLblPos val="t"/>
              <c:showLegendKey val="0"/>
              <c:showVal val="1"/>
              <c:showCatName val="0"/>
              <c:showSerName val="0"/>
              <c:showPercent val="0"/>
              <c:showBubbleSize val="0"/>
            </c:dLbl>
            <c:dLbl>
              <c:idx val="8"/>
              <c:tx>
                <c:rich>
                  <a:bodyPr/>
                  <a:lstStyle/>
                  <a:p>
                    <a:r>
                      <a:t>1295.2</a:t>
                    </a:r>
                  </a:p>
                </c:rich>
              </c:tx>
              <c:dLblPos val="t"/>
              <c:showLegendKey val="0"/>
              <c:showVal val="1"/>
              <c:showCatName val="0"/>
              <c:showSerName val="0"/>
              <c:showPercent val="0"/>
              <c:showBubbleSize val="0"/>
            </c:dLbl>
            <c:dLbl>
              <c:idx val="9"/>
              <c:tx>
                <c:rich>
                  <a:bodyPr/>
                  <a:lstStyle/>
                  <a:p>
                    <a:r>
                      <a:t>1248.87</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No Spray Crema</c:v>
                  </c:pt>
                  <c:pt idx="2">
                    <c:v>No Spray Liquido</c:v>
                  </c:pt>
                  <c:pt idx="4">
                    <c:v>Spray Liquido</c:v>
                  </c:pt>
                  <c:pt idx="6">
                    <c:v>No Spray Gel</c:v>
                  </c:pt>
                  <c:pt idx="8">
                    <c:v>No Spray Locion</c:v>
                  </c:pt>
                </c:lvl>
              </c:multiLvlStrCache>
            </c:multiLvlStrRef>
          </c:cat>
          <c:val>
            <c:numRef>
              <c:f>Sheet1!$D$2:$D$11</c:f>
              <c:numCache>
                <c:formatCode>General</c:formatCode>
                <c:ptCount val="10"/>
                <c:pt idx="0">
                  <c:v>1328.3386</c:v>
                </c:pt>
                <c:pt idx="1">
                  <c:v>1034.7769</c:v>
                </c:pt>
                <c:pt idx="2">
                  <c:v>1293.9094</c:v>
                </c:pt>
                <c:pt idx="3">
                  <c:v>1131.8087</c:v>
                </c:pt>
                <c:pt idx="4">
                  <c:v>1366.2236</c:v>
                </c:pt>
                <c:pt idx="5">
                  <c:v>1254.4918</c:v>
                </c:pt>
                <c:pt idx="6">
                  <c:v>1096.7208</c:v>
                </c:pt>
                <c:pt idx="7">
                  <c:v>424.456</c:v>
                </c:pt>
                <c:pt idx="8">
                  <c:v>1295.199</c:v>
                </c:pt>
                <c:pt idx="9">
                  <c:v>1248.865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No Spray Crema</c:v>
                  </c:pt>
                  <c:pt idx="2">
                    <c:v>No Spray Liquido</c:v>
                  </c:pt>
                  <c:pt idx="4">
                    <c:v>No Spray Gel</c:v>
                  </c:pt>
                  <c:pt idx="6">
                    <c:v>Spray Liquido</c:v>
                  </c:pt>
                  <c:pt idx="8">
                    <c:v>No Spray Fluido</c:v>
                  </c:pt>
                </c:lvl>
              </c:multiLvlStrCache>
            </c:multiLvlStrRef>
          </c:cat>
          <c:val>
            <c:numRef>
              <c:f>Sheet1!$C$2:$C$11</c:f>
              <c:numCache>
                <c:formatCode>General</c:formatCode>
                <c:ptCount val="10"/>
                <c:pt idx="0">
                  <c:v>126.0</c:v>
                </c:pt>
                <c:pt idx="1">
                  <c:v>11.2</c:v>
                </c:pt>
                <c:pt idx="2">
                  <c:v>61.7</c:v>
                </c:pt>
                <c:pt idx="3">
                  <c:v>4.6</c:v>
                </c:pt>
                <c:pt idx="4">
                  <c:v>25.2</c:v>
                </c:pt>
                <c:pt idx="5">
                  <c:v>1.1</c:v>
                </c:pt>
                <c:pt idx="6">
                  <c:v>17.1</c:v>
                </c:pt>
                <c:pt idx="7">
                  <c:v>4.4</c:v>
                </c:pt>
                <c:pt idx="8">
                  <c:v>9.0</c:v>
                </c:pt>
                <c:pt idx="9">
                  <c:v>0.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32.6</a:t>
                    </a:r>
                  </a:p>
                </c:rich>
              </c:tx>
              <c:dLblPos val="t"/>
              <c:showLegendKey val="0"/>
              <c:showVal val="1"/>
              <c:showCatName val="0"/>
              <c:showSerName val="0"/>
              <c:showPercent val="0"/>
              <c:showBubbleSize val="0"/>
            </c:dLbl>
            <c:dLbl>
              <c:idx val="1"/>
              <c:tx>
                <c:rich>
                  <a:bodyPr/>
                  <a:lstStyle/>
                  <a:p>
                    <a:r>
                      <a:t>1057.53</a:t>
                    </a:r>
                  </a:p>
                </c:rich>
              </c:tx>
              <c:dLblPos val="t"/>
              <c:showLegendKey val="0"/>
              <c:showVal val="1"/>
              <c:showCatName val="0"/>
              <c:showSerName val="0"/>
              <c:showPercent val="0"/>
              <c:showBubbleSize val="0"/>
            </c:dLbl>
            <c:dLbl>
              <c:idx val="2"/>
              <c:tx>
                <c:rich>
                  <a:bodyPr/>
                  <a:lstStyle/>
                  <a:p>
                    <a:r>
                      <a:t>1356.78</a:t>
                    </a:r>
                  </a:p>
                </c:rich>
              </c:tx>
              <c:dLblPos val="t"/>
              <c:showLegendKey val="0"/>
              <c:showVal val="1"/>
              <c:showCatName val="0"/>
              <c:showSerName val="0"/>
              <c:showPercent val="0"/>
              <c:showBubbleSize val="0"/>
            </c:dLbl>
            <c:dLbl>
              <c:idx val="3"/>
              <c:tx>
                <c:rich>
                  <a:bodyPr/>
                  <a:lstStyle/>
                  <a:p>
                    <a:r>
                      <a:t>1094.64</a:t>
                    </a:r>
                  </a:p>
                </c:rich>
              </c:tx>
              <c:dLblPos val="t"/>
              <c:showLegendKey val="0"/>
              <c:showVal val="1"/>
              <c:showCatName val="0"/>
              <c:showSerName val="0"/>
              <c:showPercent val="0"/>
              <c:showBubbleSize val="0"/>
            </c:dLbl>
            <c:dLbl>
              <c:idx val="4"/>
              <c:tx>
                <c:rich>
                  <a:bodyPr/>
                  <a:lstStyle/>
                  <a:p>
                    <a:r>
                      <a:t>1409.56</a:t>
                    </a:r>
                  </a:p>
                </c:rich>
              </c:tx>
              <c:dLblPos val="t"/>
              <c:showLegendKey val="0"/>
              <c:showVal val="1"/>
              <c:showCatName val="0"/>
              <c:showSerName val="0"/>
              <c:showPercent val="0"/>
              <c:showBubbleSize val="0"/>
            </c:dLbl>
            <c:dLbl>
              <c:idx val="5"/>
              <c:tx>
                <c:rich>
                  <a:bodyPr/>
                  <a:lstStyle/>
                  <a:p>
                    <a:r>
                      <a:t>433.25</a:t>
                    </a:r>
                  </a:p>
                </c:rich>
              </c:tx>
              <c:dLblPos val="t"/>
              <c:showLegendKey val="0"/>
              <c:showVal val="1"/>
              <c:showCatName val="0"/>
              <c:showSerName val="0"/>
              <c:showPercent val="0"/>
              <c:showBubbleSize val="0"/>
            </c:dLbl>
            <c:dLbl>
              <c:idx val="6"/>
              <c:tx>
                <c:rich>
                  <a:bodyPr/>
                  <a:lstStyle/>
                  <a:p>
                    <a:r>
                      <a:t>1378.81</a:t>
                    </a:r>
                  </a:p>
                </c:rich>
              </c:tx>
              <c:dLblPos val="t"/>
              <c:showLegendKey val="0"/>
              <c:showVal val="1"/>
              <c:showCatName val="0"/>
              <c:showSerName val="0"/>
              <c:showPercent val="0"/>
              <c:showBubbleSize val="0"/>
            </c:dLbl>
            <c:dLbl>
              <c:idx val="7"/>
              <c:tx>
                <c:rich>
                  <a:bodyPr/>
                  <a:lstStyle/>
                  <a:p>
                    <a:r>
                      <a:t>1178.41</a:t>
                    </a:r>
                  </a:p>
                </c:rich>
              </c:tx>
              <c:dLblPos val="t"/>
              <c:showLegendKey val="0"/>
              <c:showVal val="1"/>
              <c:showCatName val="0"/>
              <c:showSerName val="0"/>
              <c:showPercent val="0"/>
              <c:showBubbleSize val="0"/>
            </c:dLbl>
            <c:dLbl>
              <c:idx val="8"/>
              <c:tx>
                <c:rich>
                  <a:bodyPr/>
                  <a:lstStyle/>
                  <a:p>
                    <a:r>
                      <a:t>11757.14</a:t>
                    </a:r>
                  </a:p>
                </c:rich>
              </c:tx>
              <c:dLblPos val="t"/>
              <c:showLegendKey val="0"/>
              <c:showVal val="1"/>
              <c:showCatName val="0"/>
              <c:showSerName val="0"/>
              <c:showPercent val="0"/>
              <c:showBubbleSize val="0"/>
            </c:dLbl>
            <c:dLbl>
              <c:idx val="9"/>
              <c:tx>
                <c:rich>
                  <a:bodyPr/>
                  <a:lstStyle/>
                  <a:p>
                    <a:r>
                      <a:t>5096.5</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No Spray Crema</c:v>
                  </c:pt>
                  <c:pt idx="2">
                    <c:v>No Spray Liquido</c:v>
                  </c:pt>
                  <c:pt idx="4">
                    <c:v>No Spray Gel</c:v>
                  </c:pt>
                  <c:pt idx="6">
                    <c:v>Spray Liquido</c:v>
                  </c:pt>
                  <c:pt idx="8">
                    <c:v>No Spray Fluido</c:v>
                  </c:pt>
                </c:lvl>
              </c:multiLvlStrCache>
            </c:multiLvlStrRef>
          </c:cat>
          <c:val>
            <c:numRef>
              <c:f>Sheet1!$D$2:$D$11</c:f>
              <c:numCache>
                <c:formatCode>General</c:formatCode>
                <c:ptCount val="10"/>
                <c:pt idx="0">
                  <c:v>1532.6046</c:v>
                </c:pt>
                <c:pt idx="1">
                  <c:v>1057.5328</c:v>
                </c:pt>
                <c:pt idx="2">
                  <c:v>1356.777</c:v>
                </c:pt>
                <c:pt idx="3">
                  <c:v>1094.6384</c:v>
                </c:pt>
                <c:pt idx="4">
                  <c:v>1409.5581</c:v>
                </c:pt>
                <c:pt idx="5">
                  <c:v>433.2525</c:v>
                </c:pt>
                <c:pt idx="6">
                  <c:v>1378.8089</c:v>
                </c:pt>
                <c:pt idx="7">
                  <c:v>1178.4089</c:v>
                </c:pt>
                <c:pt idx="8">
                  <c:v>11757.1438</c:v>
                </c:pt>
                <c:pt idx="9">
                  <c:v>5096.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No Spray Crema</c:v>
                  </c:pt>
                  <c:pt idx="2">
                    <c:v>No Spray Liquido</c:v>
                  </c:pt>
                  <c:pt idx="4">
                    <c:v>Spray Liquido</c:v>
                  </c:pt>
                  <c:pt idx="6">
                    <c:v>No Spray Gel</c:v>
                  </c:pt>
                  <c:pt idx="8">
                    <c:v>No Spray Locion</c:v>
                  </c:pt>
                </c:lvl>
              </c:multiLvlStrCache>
            </c:multiLvlStrRef>
          </c:cat>
          <c:val>
            <c:numRef>
              <c:f>Sheet1!$C$2:$C$11</c:f>
              <c:numCache>
                <c:formatCode>General</c:formatCode>
                <c:ptCount val="10"/>
                <c:pt idx="0">
                  <c:v>116.9</c:v>
                </c:pt>
                <c:pt idx="1">
                  <c:v>13.0</c:v>
                </c:pt>
                <c:pt idx="2">
                  <c:v>56.1</c:v>
                </c:pt>
                <c:pt idx="3">
                  <c:v>4.8</c:v>
                </c:pt>
                <c:pt idx="4">
                  <c:v>24.2</c:v>
                </c:pt>
                <c:pt idx="5">
                  <c:v>7.6</c:v>
                </c:pt>
                <c:pt idx="6">
                  <c:v>20.7</c:v>
                </c:pt>
                <c:pt idx="7">
                  <c:v>1.5</c:v>
                </c:pt>
                <c:pt idx="8">
                  <c:v>8.8</c:v>
                </c:pt>
                <c:pt idx="9">
                  <c:v>7.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34.65</a:t>
                    </a:r>
                  </a:p>
                </c:rich>
              </c:tx>
              <c:dLblPos val="t"/>
              <c:showLegendKey val="0"/>
              <c:showVal val="1"/>
              <c:showCatName val="0"/>
              <c:showSerName val="0"/>
              <c:showPercent val="0"/>
              <c:showBubbleSize val="0"/>
            </c:dLbl>
            <c:dLbl>
              <c:idx val="1"/>
              <c:tx>
                <c:rich>
                  <a:bodyPr/>
                  <a:lstStyle/>
                  <a:p>
                    <a:r>
                      <a:t>1082.23</a:t>
                    </a:r>
                  </a:p>
                </c:rich>
              </c:tx>
              <c:dLblPos val="t"/>
              <c:showLegendKey val="0"/>
              <c:showVal val="1"/>
              <c:showCatName val="0"/>
              <c:showSerName val="0"/>
              <c:showPercent val="0"/>
              <c:showBubbleSize val="0"/>
            </c:dLbl>
            <c:dLbl>
              <c:idx val="2"/>
              <c:tx>
                <c:rich>
                  <a:bodyPr/>
                  <a:lstStyle/>
                  <a:p>
                    <a:r>
                      <a:t>1376.76</a:t>
                    </a:r>
                  </a:p>
                </c:rich>
              </c:tx>
              <c:dLblPos val="t"/>
              <c:showLegendKey val="0"/>
              <c:showVal val="1"/>
              <c:showCatName val="0"/>
              <c:showSerName val="0"/>
              <c:showPercent val="0"/>
              <c:showBubbleSize val="0"/>
            </c:dLbl>
            <c:dLbl>
              <c:idx val="3"/>
              <c:tx>
                <c:rich>
                  <a:bodyPr/>
                  <a:lstStyle/>
                  <a:p>
                    <a:r>
                      <a:t>1117.86</a:t>
                    </a:r>
                  </a:p>
                </c:rich>
              </c:tx>
              <c:dLblPos val="t"/>
              <c:showLegendKey val="0"/>
              <c:showVal val="1"/>
              <c:showCatName val="0"/>
              <c:showSerName val="0"/>
              <c:showPercent val="0"/>
              <c:showBubbleSize val="0"/>
            </c:dLbl>
            <c:dLbl>
              <c:idx val="4"/>
              <c:tx>
                <c:rich>
                  <a:bodyPr/>
                  <a:lstStyle/>
                  <a:p>
                    <a:r>
                      <a:t>1460.51</a:t>
                    </a:r>
                  </a:p>
                </c:rich>
              </c:tx>
              <c:dLblPos val="t"/>
              <c:showLegendKey val="0"/>
              <c:showVal val="1"/>
              <c:showCatName val="0"/>
              <c:showSerName val="0"/>
              <c:showPercent val="0"/>
              <c:showBubbleSize val="0"/>
            </c:dLbl>
            <c:dLbl>
              <c:idx val="5"/>
              <c:tx>
                <c:rich>
                  <a:bodyPr/>
                  <a:lstStyle/>
                  <a:p>
                    <a:r>
                      <a:t>1396.87</a:t>
                    </a:r>
                  </a:p>
                </c:rich>
              </c:tx>
              <c:dLblPos val="t"/>
              <c:showLegendKey val="0"/>
              <c:showVal val="1"/>
              <c:showCatName val="0"/>
              <c:showSerName val="0"/>
              <c:showPercent val="0"/>
              <c:showBubbleSize val="0"/>
            </c:dLbl>
            <c:dLbl>
              <c:idx val="6"/>
              <c:tx>
                <c:rich>
                  <a:bodyPr/>
                  <a:lstStyle/>
                  <a:p>
                    <a:r>
                      <a:t>1360.15</a:t>
                    </a:r>
                  </a:p>
                </c:rich>
              </c:tx>
              <c:dLblPos val="t"/>
              <c:showLegendKey val="0"/>
              <c:showVal val="1"/>
              <c:showCatName val="0"/>
              <c:showSerName val="0"/>
              <c:showPercent val="0"/>
              <c:showBubbleSize val="0"/>
            </c:dLbl>
            <c:dLbl>
              <c:idx val="7"/>
              <c:tx>
                <c:rich>
                  <a:bodyPr/>
                  <a:lstStyle/>
                  <a:p>
                    <a:r>
                      <a:t>448.95</a:t>
                    </a:r>
                  </a:p>
                </c:rich>
              </c:tx>
              <c:dLblPos val="t"/>
              <c:showLegendKey val="0"/>
              <c:showVal val="1"/>
              <c:showCatName val="0"/>
              <c:showSerName val="0"/>
              <c:showPercent val="0"/>
              <c:showBubbleSize val="0"/>
            </c:dLbl>
            <c:dLbl>
              <c:idx val="8"/>
              <c:tx>
                <c:rich>
                  <a:bodyPr/>
                  <a:lstStyle/>
                  <a:p>
                    <a:r>
                      <a:t>1409.54</a:t>
                    </a:r>
                  </a:p>
                </c:rich>
              </c:tx>
              <c:dLblPos val="t"/>
              <c:showLegendKey val="0"/>
              <c:showVal val="1"/>
              <c:showCatName val="0"/>
              <c:showSerName val="0"/>
              <c:showPercent val="0"/>
              <c:showBubbleSize val="0"/>
            </c:dLbl>
            <c:dLbl>
              <c:idx val="9"/>
              <c:tx>
                <c:rich>
                  <a:bodyPr/>
                  <a:lstStyle/>
                  <a:p>
                    <a:r>
                      <a:t>1325.97</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No Spray Crema</c:v>
                  </c:pt>
                  <c:pt idx="2">
                    <c:v>No Spray Liquido</c:v>
                  </c:pt>
                  <c:pt idx="4">
                    <c:v>Spray Liquido</c:v>
                  </c:pt>
                  <c:pt idx="6">
                    <c:v>No Spray Gel</c:v>
                  </c:pt>
                  <c:pt idx="8">
                    <c:v>No Spray Locion</c:v>
                  </c:pt>
                </c:lvl>
              </c:multiLvlStrCache>
            </c:multiLvlStrRef>
          </c:cat>
          <c:val>
            <c:numRef>
              <c:f>Sheet1!$D$2:$D$11</c:f>
              <c:numCache>
                <c:formatCode>General</c:formatCode>
                <c:ptCount val="10"/>
                <c:pt idx="0">
                  <c:v>1534.6503</c:v>
                </c:pt>
                <c:pt idx="1">
                  <c:v>1082.2349</c:v>
                </c:pt>
                <c:pt idx="2">
                  <c:v>1376.7646</c:v>
                </c:pt>
                <c:pt idx="3">
                  <c:v>1117.8551</c:v>
                </c:pt>
                <c:pt idx="4">
                  <c:v>1460.5051</c:v>
                </c:pt>
                <c:pt idx="5">
                  <c:v>1396.8724</c:v>
                </c:pt>
                <c:pt idx="6">
                  <c:v>1360.1494</c:v>
                </c:pt>
                <c:pt idx="7">
                  <c:v>448.9503</c:v>
                </c:pt>
                <c:pt idx="8">
                  <c:v>1409.5431</c:v>
                </c:pt>
                <c:pt idx="9">
                  <c:v>1325.966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No Spray Crema</c:v>
                  </c:pt>
                  <c:pt idx="2">
                    <c:v>No Spray Liquido</c:v>
                  </c:pt>
                  <c:pt idx="4">
                    <c:v>Spray Liquido</c:v>
                  </c:pt>
                  <c:pt idx="6">
                    <c:v>No Spray Gel</c:v>
                  </c:pt>
                  <c:pt idx="8">
                    <c:v>No Spray Locion</c:v>
                  </c:pt>
                </c:lvl>
              </c:multiLvlStrCache>
            </c:multiLvlStrRef>
          </c:cat>
          <c:val>
            <c:numRef>
              <c:f>Sheet1!$C$2:$C$11</c:f>
              <c:numCache>
                <c:formatCode>General</c:formatCode>
                <c:ptCount val="10"/>
                <c:pt idx="0">
                  <c:v>79.1</c:v>
                </c:pt>
                <c:pt idx="1">
                  <c:v>7.9</c:v>
                </c:pt>
                <c:pt idx="2">
                  <c:v>44.5</c:v>
                </c:pt>
                <c:pt idx="3">
                  <c:v>3.1</c:v>
                </c:pt>
                <c:pt idx="4">
                  <c:v>24.6</c:v>
                </c:pt>
                <c:pt idx="5">
                  <c:v>8.6</c:v>
                </c:pt>
                <c:pt idx="6">
                  <c:v>15.5</c:v>
                </c:pt>
                <c:pt idx="7">
                  <c:v>0.9</c:v>
                </c:pt>
                <c:pt idx="8">
                  <c:v>5.7</c:v>
                </c:pt>
                <c:pt idx="9">
                  <c:v>4.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64.02</a:t>
                    </a:r>
                  </a:p>
                </c:rich>
              </c:tx>
              <c:dLblPos val="t"/>
              <c:showLegendKey val="0"/>
              <c:showVal val="1"/>
              <c:showCatName val="0"/>
              <c:showSerName val="0"/>
              <c:showPercent val="0"/>
              <c:showBubbleSize val="0"/>
            </c:dLbl>
            <c:dLbl>
              <c:idx val="1"/>
              <c:tx>
                <c:rich>
                  <a:bodyPr/>
                  <a:lstStyle/>
                  <a:p>
                    <a:r>
                      <a:t>1085.58</a:t>
                    </a:r>
                  </a:p>
                </c:rich>
              </c:tx>
              <c:dLblPos val="t"/>
              <c:showLegendKey val="0"/>
              <c:showVal val="1"/>
              <c:showCatName val="0"/>
              <c:showSerName val="0"/>
              <c:showPercent val="0"/>
              <c:showBubbleSize val="0"/>
            </c:dLbl>
            <c:dLbl>
              <c:idx val="2"/>
              <c:tx>
                <c:rich>
                  <a:bodyPr/>
                  <a:lstStyle/>
                  <a:p>
                    <a:r>
                      <a:t>1380.4</a:t>
                    </a:r>
                  </a:p>
                </c:rich>
              </c:tx>
              <c:dLblPos val="t"/>
              <c:showLegendKey val="0"/>
              <c:showVal val="1"/>
              <c:showCatName val="0"/>
              <c:showSerName val="0"/>
              <c:showPercent val="0"/>
              <c:showBubbleSize val="0"/>
            </c:dLbl>
            <c:dLbl>
              <c:idx val="3"/>
              <c:tx>
                <c:rich>
                  <a:bodyPr/>
                  <a:lstStyle/>
                  <a:p>
                    <a:r>
                      <a:t>1109.82</a:t>
                    </a:r>
                  </a:p>
                </c:rich>
              </c:tx>
              <c:dLblPos val="t"/>
              <c:showLegendKey val="0"/>
              <c:showVal val="1"/>
              <c:showCatName val="0"/>
              <c:showSerName val="0"/>
              <c:showPercent val="0"/>
              <c:showBubbleSize val="0"/>
            </c:dLbl>
            <c:dLbl>
              <c:idx val="4"/>
              <c:tx>
                <c:rich>
                  <a:bodyPr/>
                  <a:lstStyle/>
                  <a:p>
                    <a:r>
                      <a:t>1444.43</a:t>
                    </a:r>
                  </a:p>
                </c:rich>
              </c:tx>
              <c:dLblPos val="t"/>
              <c:showLegendKey val="0"/>
              <c:showVal val="1"/>
              <c:showCatName val="0"/>
              <c:showSerName val="0"/>
              <c:showPercent val="0"/>
              <c:showBubbleSize val="0"/>
            </c:dLbl>
            <c:dLbl>
              <c:idx val="5"/>
              <c:tx>
                <c:rich>
                  <a:bodyPr/>
                  <a:lstStyle/>
                  <a:p>
                    <a:r>
                      <a:t>1381.37</a:t>
                    </a:r>
                  </a:p>
                </c:rich>
              </c:tx>
              <c:dLblPos val="t"/>
              <c:showLegendKey val="0"/>
              <c:showVal val="1"/>
              <c:showCatName val="0"/>
              <c:showSerName val="0"/>
              <c:showPercent val="0"/>
              <c:showBubbleSize val="0"/>
            </c:dLbl>
            <c:dLbl>
              <c:idx val="6"/>
              <c:tx>
                <c:rich>
                  <a:bodyPr/>
                  <a:lstStyle/>
                  <a:p>
                    <a:r>
                      <a:t>1303.04</a:t>
                    </a:r>
                  </a:p>
                </c:rich>
              </c:tx>
              <c:dLblPos val="t"/>
              <c:showLegendKey val="0"/>
              <c:showVal val="1"/>
              <c:showCatName val="0"/>
              <c:showSerName val="0"/>
              <c:showPercent val="0"/>
              <c:showBubbleSize val="0"/>
            </c:dLbl>
            <c:dLbl>
              <c:idx val="7"/>
              <c:tx>
                <c:rich>
                  <a:bodyPr/>
                  <a:lstStyle/>
                  <a:p>
                    <a:r>
                      <a:t>432.37</a:t>
                    </a:r>
                  </a:p>
                </c:rich>
              </c:tx>
              <c:dLblPos val="t"/>
              <c:showLegendKey val="0"/>
              <c:showVal val="1"/>
              <c:showCatName val="0"/>
              <c:showSerName val="0"/>
              <c:showPercent val="0"/>
              <c:showBubbleSize val="0"/>
            </c:dLbl>
            <c:dLbl>
              <c:idx val="8"/>
              <c:tx>
                <c:rich>
                  <a:bodyPr/>
                  <a:lstStyle/>
                  <a:p>
                    <a:r>
                      <a:t>1471.52</a:t>
                    </a:r>
                  </a:p>
                </c:rich>
              </c:tx>
              <c:dLblPos val="t"/>
              <c:showLegendKey val="0"/>
              <c:showVal val="1"/>
              <c:showCatName val="0"/>
              <c:showSerName val="0"/>
              <c:showPercent val="0"/>
              <c:showBubbleSize val="0"/>
            </c:dLbl>
            <c:dLbl>
              <c:idx val="9"/>
              <c:tx>
                <c:rich>
                  <a:bodyPr/>
                  <a:lstStyle/>
                  <a:p>
                    <a:r>
                      <a:t>1360.26</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anana Boat</c:v>
                  </c:pt>
                  <c:pt idx="2">
                    <c:v>Total</c:v>
                  </c:pt>
                  <c:pt idx="3">
                    <c:v>Banana Boat</c:v>
                  </c:pt>
                  <c:pt idx="4">
                    <c:v>Total</c:v>
                  </c:pt>
                  <c:pt idx="5">
                    <c:v>Banana Boat</c:v>
                  </c:pt>
                  <c:pt idx="6">
                    <c:v>Total</c:v>
                  </c:pt>
                  <c:pt idx="7">
                    <c:v>Banana Boat</c:v>
                  </c:pt>
                  <c:pt idx="8">
                    <c:v>Total</c:v>
                  </c:pt>
                  <c:pt idx="9">
                    <c:v>Banana Boat</c:v>
                  </c:pt>
                </c:lvl>
                <c:lvl>
                  <c:pt idx="0">
                    <c:v>No Spray Crema</c:v>
                  </c:pt>
                  <c:pt idx="2">
                    <c:v>No Spray Liquido</c:v>
                  </c:pt>
                  <c:pt idx="4">
                    <c:v>Spray Liquido</c:v>
                  </c:pt>
                  <c:pt idx="6">
                    <c:v>No Spray Gel</c:v>
                  </c:pt>
                  <c:pt idx="8">
                    <c:v>No Spray Locion</c:v>
                  </c:pt>
                </c:lvl>
              </c:multiLvlStrCache>
            </c:multiLvlStrRef>
          </c:cat>
          <c:val>
            <c:numRef>
              <c:f>Sheet1!$D$2:$D$11</c:f>
              <c:numCache>
                <c:formatCode>General</c:formatCode>
                <c:ptCount val="10"/>
                <c:pt idx="0">
                  <c:v>1564.0227</c:v>
                </c:pt>
                <c:pt idx="1">
                  <c:v>1085.58</c:v>
                </c:pt>
                <c:pt idx="2">
                  <c:v>1380.4037</c:v>
                </c:pt>
                <c:pt idx="3">
                  <c:v>1109.8209</c:v>
                </c:pt>
                <c:pt idx="4">
                  <c:v>1444.4341</c:v>
                </c:pt>
                <c:pt idx="5">
                  <c:v>1381.3669</c:v>
                </c:pt>
                <c:pt idx="6">
                  <c:v>1303.0379</c:v>
                </c:pt>
                <c:pt idx="7">
                  <c:v>432.3743</c:v>
                </c:pt>
                <c:pt idx="8">
                  <c:v>1471.5245</c:v>
                </c:pt>
                <c:pt idx="9">
                  <c:v>1360.256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No Spray Crema</c:v>
                  </c:pt>
                  <c:pt idx="2">
                    <c:v>No Spray Liquido</c:v>
                  </c:pt>
                  <c:pt idx="4">
                    <c:v>No Spray Gel</c:v>
                  </c:pt>
                  <c:pt idx="6">
                    <c:v>Spray Liquido</c:v>
                  </c:pt>
                  <c:pt idx="8">
                    <c:v>No Spray Fluido</c:v>
                  </c:pt>
                </c:lvl>
              </c:multiLvlStrCache>
            </c:multiLvlStrRef>
          </c:cat>
          <c:val>
            <c:numRef>
              <c:f>Sheet1!$C$2:$C$11</c:f>
              <c:numCache>
                <c:formatCode>General</c:formatCode>
                <c:ptCount val="10"/>
                <c:pt idx="0">
                  <c:v>756.5</c:v>
                </c:pt>
                <c:pt idx="1">
                  <c:v>0.0</c:v>
                </c:pt>
                <c:pt idx="2">
                  <c:v>368.2</c:v>
                </c:pt>
                <c:pt idx="3">
                  <c:v>12.5</c:v>
                </c:pt>
                <c:pt idx="4">
                  <c:v>146.8</c:v>
                </c:pt>
                <c:pt idx="5">
                  <c:v>0.0</c:v>
                </c:pt>
                <c:pt idx="6">
                  <c:v>133.7</c:v>
                </c:pt>
                <c:pt idx="7">
                  <c:v>0.0</c:v>
                </c:pt>
                <c:pt idx="8">
                  <c:v>56.8</c:v>
                </c:pt>
                <c:pt idx="9">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05.63</a:t>
                    </a:r>
                  </a:p>
                </c:rich>
              </c:tx>
              <c:dLblPos val="t"/>
              <c:showLegendKey val="0"/>
              <c:showVal val="1"/>
              <c:showCatName val="0"/>
              <c:showSerName val="0"/>
              <c:showPercent val="0"/>
              <c:showBubbleSize val="0"/>
            </c:dLbl>
            <c:dLbl>
              <c:idx val="1"/>
              <c:tx>
                <c:rich>
                  <a:bodyPr/>
                  <a:lstStyle/>
                  <a:p>
                    <a:r>
                      <a:t>0.0</a:t>
                    </a:r>
                  </a:p>
                </c:rich>
              </c:tx>
              <c:dLblPos val="t"/>
              <c:showLegendKey val="0"/>
              <c:showVal val="1"/>
              <c:showCatName val="0"/>
              <c:showSerName val="0"/>
              <c:showPercent val="0"/>
              <c:showBubbleSize val="0"/>
            </c:dLbl>
            <c:dLbl>
              <c:idx val="2"/>
              <c:tx>
                <c:rich>
                  <a:bodyPr/>
                  <a:lstStyle/>
                  <a:p>
                    <a:r>
                      <a:t>1356.64</a:t>
                    </a:r>
                  </a:p>
                </c:rich>
              </c:tx>
              <c:dLblPos val="t"/>
              <c:showLegendKey val="0"/>
              <c:showVal val="1"/>
              <c:showCatName val="0"/>
              <c:showSerName val="0"/>
              <c:showPercent val="0"/>
              <c:showBubbleSize val="0"/>
            </c:dLbl>
            <c:dLbl>
              <c:idx val="3"/>
              <c:tx>
                <c:rich>
                  <a:bodyPr/>
                  <a:lstStyle/>
                  <a:p>
                    <a:r>
                      <a:t>4025.53</a:t>
                    </a:r>
                  </a:p>
                </c:rich>
              </c:tx>
              <c:dLblPos val="t"/>
              <c:showLegendKey val="0"/>
              <c:showVal val="1"/>
              <c:showCatName val="0"/>
              <c:showSerName val="0"/>
              <c:showPercent val="0"/>
              <c:showBubbleSize val="0"/>
            </c:dLbl>
            <c:dLbl>
              <c:idx val="4"/>
              <c:tx>
                <c:rich>
                  <a:bodyPr/>
                  <a:lstStyle/>
                  <a:p>
                    <a:r>
                      <a:t>1363.31</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403.03</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dLbl>
              <c:idx val="8"/>
              <c:tx>
                <c:rich>
                  <a:bodyPr/>
                  <a:lstStyle/>
                  <a:p>
                    <a:r>
                      <a:t>10910.92</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No Spray Crema</c:v>
                  </c:pt>
                  <c:pt idx="2">
                    <c:v>No Spray Liquido</c:v>
                  </c:pt>
                  <c:pt idx="4">
                    <c:v>No Spray Gel</c:v>
                  </c:pt>
                  <c:pt idx="6">
                    <c:v>Spray Liquido</c:v>
                  </c:pt>
                  <c:pt idx="8">
                    <c:v>No Spray Fluido</c:v>
                  </c:pt>
                </c:lvl>
              </c:multiLvlStrCache>
            </c:multiLvlStrRef>
          </c:cat>
          <c:val>
            <c:numRef>
              <c:f>Sheet1!$D$2:$D$11</c:f>
              <c:numCache>
                <c:formatCode>General</c:formatCode>
                <c:ptCount val="10"/>
                <c:pt idx="0">
                  <c:v>1605.6335</c:v>
                </c:pt>
                <c:pt idx="1">
                  <c:v>0.0</c:v>
                </c:pt>
                <c:pt idx="2">
                  <c:v>1356.6373</c:v>
                </c:pt>
                <c:pt idx="3">
                  <c:v>4025.5318</c:v>
                </c:pt>
                <c:pt idx="4">
                  <c:v>1363.3117</c:v>
                </c:pt>
                <c:pt idx="5">
                  <c:v>0.0</c:v>
                </c:pt>
                <c:pt idx="6">
                  <c:v>1403.0264</c:v>
                </c:pt>
                <c:pt idx="7">
                  <c:v>0.0</c:v>
                </c:pt>
                <c:pt idx="8">
                  <c:v>10910.9212</c:v>
                </c:pt>
                <c:pt idx="9">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No Spray Crema</c:v>
                  </c:pt>
                  <c:pt idx="2">
                    <c:v>No Spray Liquido</c:v>
                  </c:pt>
                  <c:pt idx="4">
                    <c:v>No Spray Gel</c:v>
                  </c:pt>
                  <c:pt idx="6">
                    <c:v>Spray Liquido</c:v>
                  </c:pt>
                  <c:pt idx="8">
                    <c:v>No Spray Fluido</c:v>
                  </c:pt>
                </c:lvl>
              </c:multiLvlStrCache>
            </c:multiLvlStrRef>
          </c:cat>
          <c:val>
            <c:numRef>
              <c:f>Sheet1!$C$2:$C$11</c:f>
              <c:numCache>
                <c:formatCode>General</c:formatCode>
                <c:ptCount val="10"/>
                <c:pt idx="0">
                  <c:v>171.4</c:v>
                </c:pt>
                <c:pt idx="1">
                  <c:v>0.0</c:v>
                </c:pt>
                <c:pt idx="2">
                  <c:v>83.9</c:v>
                </c:pt>
                <c:pt idx="3">
                  <c:v>3.0</c:v>
                </c:pt>
                <c:pt idx="4">
                  <c:v>30.3</c:v>
                </c:pt>
                <c:pt idx="5">
                  <c:v>0.0</c:v>
                </c:pt>
                <c:pt idx="6">
                  <c:v>21.3</c:v>
                </c:pt>
                <c:pt idx="7">
                  <c:v>0.0</c:v>
                </c:pt>
                <c:pt idx="8">
                  <c:v>11.2</c:v>
                </c:pt>
                <c:pt idx="9">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654.49</a:t>
                    </a:r>
                  </a:p>
                </c:rich>
              </c:tx>
              <c:dLblPos val="t"/>
              <c:showLegendKey val="0"/>
              <c:showVal val="1"/>
              <c:showCatName val="0"/>
              <c:showSerName val="0"/>
              <c:showPercent val="0"/>
              <c:showBubbleSize val="0"/>
            </c:dLbl>
            <c:dLbl>
              <c:idx val="1"/>
              <c:tx>
                <c:rich>
                  <a:bodyPr/>
                  <a:lstStyle/>
                  <a:p>
                    <a:r>
                      <a:t>0.0</a:t>
                    </a:r>
                  </a:p>
                </c:rich>
              </c:tx>
              <c:dLblPos val="t"/>
              <c:showLegendKey val="0"/>
              <c:showVal val="1"/>
              <c:showCatName val="0"/>
              <c:showSerName val="0"/>
              <c:showPercent val="0"/>
              <c:showBubbleSize val="0"/>
            </c:dLbl>
            <c:dLbl>
              <c:idx val="2"/>
              <c:tx>
                <c:rich>
                  <a:bodyPr/>
                  <a:lstStyle/>
                  <a:p>
                    <a:r>
                      <a:t>1370.52</a:t>
                    </a:r>
                  </a:p>
                </c:rich>
              </c:tx>
              <c:dLblPos val="t"/>
              <c:showLegendKey val="0"/>
              <c:showVal val="1"/>
              <c:showCatName val="0"/>
              <c:showSerName val="0"/>
              <c:showPercent val="0"/>
              <c:showBubbleSize val="0"/>
            </c:dLbl>
            <c:dLbl>
              <c:idx val="3"/>
              <c:tx>
                <c:rich>
                  <a:bodyPr/>
                  <a:lstStyle/>
                  <a:p>
                    <a:r>
                      <a:t>4341.9</a:t>
                    </a:r>
                  </a:p>
                </c:rich>
              </c:tx>
              <c:dLblPos val="t"/>
              <c:showLegendKey val="0"/>
              <c:showVal val="1"/>
              <c:showCatName val="0"/>
              <c:showSerName val="0"/>
              <c:showPercent val="0"/>
              <c:showBubbleSize val="0"/>
            </c:dLbl>
            <c:dLbl>
              <c:idx val="4"/>
              <c:tx>
                <c:rich>
                  <a:bodyPr/>
                  <a:lstStyle/>
                  <a:p>
                    <a:r>
                      <a:t>1376.41</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365.39</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dLbl>
              <c:idx val="8"/>
              <c:tx>
                <c:rich>
                  <a:bodyPr/>
                  <a:lstStyle/>
                  <a:p>
                    <a:r>
                      <a:t>10403.24</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No Spray Crema</c:v>
                  </c:pt>
                  <c:pt idx="2">
                    <c:v>No Spray Liquido</c:v>
                  </c:pt>
                  <c:pt idx="4">
                    <c:v>No Spray Gel</c:v>
                  </c:pt>
                  <c:pt idx="6">
                    <c:v>Spray Liquido</c:v>
                  </c:pt>
                  <c:pt idx="8">
                    <c:v>No Spray Fluido</c:v>
                  </c:pt>
                </c:lvl>
              </c:multiLvlStrCache>
            </c:multiLvlStrRef>
          </c:cat>
          <c:val>
            <c:numRef>
              <c:f>Sheet1!$D$2:$D$11</c:f>
              <c:numCache>
                <c:formatCode>General</c:formatCode>
                <c:ptCount val="10"/>
                <c:pt idx="0">
                  <c:v>1654.489</c:v>
                </c:pt>
                <c:pt idx="1">
                  <c:v>0.0</c:v>
                </c:pt>
                <c:pt idx="2">
                  <c:v>1370.5171</c:v>
                </c:pt>
                <c:pt idx="3">
                  <c:v>4341.905</c:v>
                </c:pt>
                <c:pt idx="4">
                  <c:v>1376.4056</c:v>
                </c:pt>
                <c:pt idx="5">
                  <c:v>0.0</c:v>
                </c:pt>
                <c:pt idx="6">
                  <c:v>1365.392</c:v>
                </c:pt>
                <c:pt idx="7">
                  <c:v>0.0</c:v>
                </c:pt>
                <c:pt idx="8">
                  <c:v>10403.2416</c:v>
                </c:pt>
                <c:pt idx="9">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19284F2-4C9A-4B85-A6D7-FDA44740B0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A92CCAE-FC63-4976-9559-D3671B32D3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08ABA63-2042-4CCA-9D8F-90A6D25C1E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D24B0D5-9723-4F15-9652-BBD95D5FBB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7CCEE26-9B75-42DC-9854-BFE2095E3C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C9CF409-D7AF-4DB9-AF58-58FC14B366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75724E7-50B9-4C84-850E-1398A78EC3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9A21242-E4FC-421D-8410-848622FABF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9.7555</c:v>
                </c:pt>
                <c:pt idx="1">
                  <c:v>211.729</c:v>
                </c:pt>
                <c:pt idx="2">
                  <c:v>223.8245</c:v>
                </c:pt>
                <c:pt idx="3">
                  <c:v>590.5508</c:v>
                </c:pt>
                <c:pt idx="4">
                  <c:v>288.5933</c:v>
                </c:pt>
                <c:pt idx="5">
                  <c:v>84.6912</c:v>
                </c:pt>
                <c:pt idx="6">
                  <c:v>585.4623</c:v>
                </c:pt>
                <c:pt idx="7">
                  <c:v>214.8602</c:v>
                </c:pt>
              </c:numCache>
            </c:numRef>
          </c:xVal>
          <c:yVal>
            <c:numRef>
              <c:f>Sheet1!$B$2:$B$9</c:f>
              <c:numCache>
                <c:formatCode>General</c:formatCode>
                <c:ptCount val="8"/>
                <c:pt idx="0">
                  <c:v>1.049</c:v>
                </c:pt>
                <c:pt idx="1">
                  <c:v>0.757</c:v>
                </c:pt>
                <c:pt idx="2">
                  <c:v>0.722</c:v>
                </c:pt>
                <c:pt idx="3">
                  <c:v>4.062</c:v>
                </c:pt>
                <c:pt idx="4">
                  <c:v>2.057</c:v>
                </c:pt>
                <c:pt idx="5">
                  <c:v>0.444</c:v>
                </c:pt>
                <c:pt idx="6">
                  <c:v>5.121</c:v>
                </c:pt>
                <c:pt idx="7">
                  <c:v>2.746</c:v>
                </c:pt>
              </c:numCache>
            </c:numRef>
          </c:yVal>
          <c:bubbleSize>
            <c:numRef>
              <c:f>Sheet1!$C$2:$C$9</c:f>
              <c:numCache>
                <c:formatCode>General</c:formatCode>
                <c:ptCount val="8"/>
                <c:pt idx="0">
                  <c:v>90276351</c:v>
                </c:pt>
                <c:pt idx="1">
                  <c:v>42299860</c:v>
                </c:pt>
                <c:pt idx="2">
                  <c:v>32509165</c:v>
                </c:pt>
                <c:pt idx="3">
                  <c:v>17830499</c:v>
                </c:pt>
                <c:pt idx="4">
                  <c:v>16300038</c:v>
                </c:pt>
                <c:pt idx="5">
                  <c:v>12513725</c:v>
                </c:pt>
                <c:pt idx="6">
                  <c:v>7144396</c:v>
                </c:pt>
                <c:pt idx="7">
                  <c:v>184564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0"/>
          <c:min val="68.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51B034B2-1EDE-4632-80F3-920977AF52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3E52A72B-B4A2-4385-BA3A-1367FF667C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5952AC65-416F-49E4-A6E6-5019CBA809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B16272A8-343E-404D-9BF7-FE8AEB5859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071A654F-1ED2-4298-A8E9-8B89D27CF0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2199BFA7-2A5E-41AC-B39D-2F47CB3F6F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7EA29F44-43F6-4F4C-9B4C-F3CD25AA8E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3A5986A4-FDFA-4337-B0CF-0186234195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53.5657</c:v>
                </c:pt>
                <c:pt idx="1">
                  <c:v>241.4086</c:v>
                </c:pt>
                <c:pt idx="2">
                  <c:v>76.4867</c:v>
                </c:pt>
                <c:pt idx="3">
                  <c:v>74.5472</c:v>
                </c:pt>
                <c:pt idx="4">
                  <c:v>698.3951</c:v>
                </c:pt>
                <c:pt idx="5">
                  <c:v>594.6939</c:v>
                </c:pt>
                <c:pt idx="6">
                  <c:v>139.2897</c:v>
                </c:pt>
              </c:numCache>
            </c:numRef>
          </c:xVal>
          <c:yVal>
            <c:numRef>
              <c:f>Sheet1!$B$2:$B$8</c:f>
              <c:numCache>
                <c:formatCode>General</c:formatCode>
                <c:ptCount val="7"/>
                <c:pt idx="0">
                  <c:v>1.288</c:v>
                </c:pt>
                <c:pt idx="1">
                  <c:v>1.079</c:v>
                </c:pt>
                <c:pt idx="2">
                  <c:v>0.549</c:v>
                </c:pt>
                <c:pt idx="3">
                  <c:v>0.555</c:v>
                </c:pt>
                <c:pt idx="4">
                  <c:v>4.054</c:v>
                </c:pt>
                <c:pt idx="5">
                  <c:v>2.764</c:v>
                </c:pt>
                <c:pt idx="6">
                  <c:v>0.531</c:v>
                </c:pt>
              </c:numCache>
            </c:numRef>
          </c:yVal>
          <c:bubbleSize>
            <c:numRef>
              <c:f>Sheet1!$C$2:$C$8</c:f>
              <c:numCache>
                <c:formatCode>General</c:formatCode>
                <c:ptCount val="7"/>
                <c:pt idx="0">
                  <c:v>11074228</c:v>
                </c:pt>
                <c:pt idx="1">
                  <c:v>6712365</c:v>
                </c:pt>
                <c:pt idx="2">
                  <c:v>2603377</c:v>
                </c:pt>
                <c:pt idx="3">
                  <c:v>1038144</c:v>
                </c:pt>
                <c:pt idx="4">
                  <c:v>399482</c:v>
                </c:pt>
                <c:pt idx="5">
                  <c:v>349680</c:v>
                </c:pt>
                <c:pt idx="6">
                  <c:v>130793</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8.0"/>
          <c:min val="60.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No Spray Crema</c:v>
                  </c:pt>
                  <c:pt idx="2">
                    <c:v>No Spray Liquido</c:v>
                  </c:pt>
                  <c:pt idx="4">
                    <c:v>No Spray Gel</c:v>
                  </c:pt>
                  <c:pt idx="6">
                    <c:v>No Spray Fluido</c:v>
                  </c:pt>
                  <c:pt idx="8">
                    <c:v>Spray Liquido</c:v>
                  </c:pt>
                </c:lvl>
              </c:multiLvlStrCache>
            </c:multiLvlStrRef>
          </c:cat>
          <c:val>
            <c:numRef>
              <c:f>Sheet1!$C$2:$C$11</c:f>
              <c:numCache>
                <c:formatCode>General</c:formatCode>
                <c:ptCount val="10"/>
                <c:pt idx="0">
                  <c:v>150.7</c:v>
                </c:pt>
                <c:pt idx="1">
                  <c:v>0.0</c:v>
                </c:pt>
                <c:pt idx="2">
                  <c:v>53.5</c:v>
                </c:pt>
                <c:pt idx="3">
                  <c:v>1.9</c:v>
                </c:pt>
                <c:pt idx="4">
                  <c:v>27.7</c:v>
                </c:pt>
                <c:pt idx="5">
                  <c:v>0.0</c:v>
                </c:pt>
                <c:pt idx="6">
                  <c:v>21.2</c:v>
                </c:pt>
                <c:pt idx="7">
                  <c:v>0.0</c:v>
                </c:pt>
                <c:pt idx="8">
                  <c:v>15.3</c:v>
                </c:pt>
                <c:pt idx="9">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036.55</a:t>
                    </a:r>
                  </a:p>
                </c:rich>
              </c:tx>
              <c:dLblPos val="t"/>
              <c:showLegendKey val="0"/>
              <c:showVal val="1"/>
              <c:showCatName val="0"/>
              <c:showSerName val="0"/>
              <c:showPercent val="0"/>
              <c:showBubbleSize val="0"/>
            </c:dLbl>
            <c:dLbl>
              <c:idx val="1"/>
              <c:tx>
                <c:rich>
                  <a:bodyPr/>
                  <a:lstStyle/>
                  <a:p>
                    <a:r>
                      <a:t>0.0</a:t>
                    </a:r>
                  </a:p>
                </c:rich>
              </c:tx>
              <c:dLblPos val="t"/>
              <c:showLegendKey val="0"/>
              <c:showVal val="1"/>
              <c:showCatName val="0"/>
              <c:showSerName val="0"/>
              <c:showPercent val="0"/>
              <c:showBubbleSize val="0"/>
            </c:dLbl>
            <c:dLbl>
              <c:idx val="2"/>
              <c:tx>
                <c:rich>
                  <a:bodyPr/>
                  <a:lstStyle/>
                  <a:p>
                    <a:r>
                      <a:t>1379.37</a:t>
                    </a:r>
                  </a:p>
                </c:rich>
              </c:tx>
              <c:dLblPos val="t"/>
              <c:showLegendKey val="0"/>
              <c:showVal val="1"/>
              <c:showCatName val="0"/>
              <c:showSerName val="0"/>
              <c:showPercent val="0"/>
              <c:showBubbleSize val="0"/>
            </c:dLbl>
            <c:dLbl>
              <c:idx val="3"/>
              <c:tx>
                <c:rich>
                  <a:bodyPr/>
                  <a:lstStyle/>
                  <a:p>
                    <a:r>
                      <a:t>4279.46</a:t>
                    </a:r>
                  </a:p>
                </c:rich>
              </c:tx>
              <c:dLblPos val="t"/>
              <c:showLegendKey val="0"/>
              <c:showVal val="1"/>
              <c:showCatName val="0"/>
              <c:showSerName val="0"/>
              <c:showPercent val="0"/>
              <c:showBubbleSize val="0"/>
            </c:dLbl>
            <c:dLbl>
              <c:idx val="4"/>
              <c:tx>
                <c:rich>
                  <a:bodyPr/>
                  <a:lstStyle/>
                  <a:p>
                    <a:r>
                      <a:t>1767.52</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0681.68</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dLbl>
              <c:idx val="8"/>
              <c:tx>
                <c:rich>
                  <a:bodyPr/>
                  <a:lstStyle/>
                  <a:p>
                    <a:r>
                      <a:t>1409.26</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No Spray Crema</c:v>
                  </c:pt>
                  <c:pt idx="2">
                    <c:v>No Spray Liquido</c:v>
                  </c:pt>
                  <c:pt idx="4">
                    <c:v>No Spray Gel</c:v>
                  </c:pt>
                  <c:pt idx="6">
                    <c:v>No Spray Fluido</c:v>
                  </c:pt>
                  <c:pt idx="8">
                    <c:v>Spray Liquido</c:v>
                  </c:pt>
                </c:lvl>
              </c:multiLvlStrCache>
            </c:multiLvlStrRef>
          </c:cat>
          <c:val>
            <c:numRef>
              <c:f>Sheet1!$D$2:$D$11</c:f>
              <c:numCache>
                <c:formatCode>General</c:formatCode>
                <c:ptCount val="10"/>
                <c:pt idx="0">
                  <c:v>2036.5506</c:v>
                </c:pt>
                <c:pt idx="1">
                  <c:v>0.0</c:v>
                </c:pt>
                <c:pt idx="2">
                  <c:v>1379.3695</c:v>
                </c:pt>
                <c:pt idx="3">
                  <c:v>4279.4598</c:v>
                </c:pt>
                <c:pt idx="4">
                  <c:v>1767.5198</c:v>
                </c:pt>
                <c:pt idx="5">
                  <c:v>0.0</c:v>
                </c:pt>
                <c:pt idx="6">
                  <c:v>10681.6818</c:v>
                </c:pt>
                <c:pt idx="7">
                  <c:v>0.0</c:v>
                </c:pt>
                <c:pt idx="8">
                  <c:v>1409.2646</c:v>
                </c:pt>
                <c:pt idx="9">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No Spray Crema</c:v>
                  </c:pt>
                  <c:pt idx="2">
                    <c:v>No Spray Liquido</c:v>
                  </c:pt>
                  <c:pt idx="4">
                    <c:v>Spray Liquido</c:v>
                  </c:pt>
                  <c:pt idx="6">
                    <c:v>No Spray Gel</c:v>
                  </c:pt>
                  <c:pt idx="8">
                    <c:v>No Spray Locion</c:v>
                  </c:pt>
                </c:lvl>
              </c:multiLvlStrCache>
            </c:multiLvlStrRef>
          </c:cat>
          <c:val>
            <c:numRef>
              <c:f>Sheet1!$C$2:$C$11</c:f>
              <c:numCache>
                <c:formatCode>General</c:formatCode>
                <c:ptCount val="10"/>
                <c:pt idx="0">
                  <c:v>112.3</c:v>
                </c:pt>
                <c:pt idx="1">
                  <c:v>0.0</c:v>
                </c:pt>
                <c:pt idx="2">
                  <c:v>68.6</c:v>
                </c:pt>
                <c:pt idx="3">
                  <c:v>2.2</c:v>
                </c:pt>
                <c:pt idx="4">
                  <c:v>31.1</c:v>
                </c:pt>
                <c:pt idx="5">
                  <c:v>0.0</c:v>
                </c:pt>
                <c:pt idx="6">
                  <c:v>27.5</c:v>
                </c:pt>
                <c:pt idx="7">
                  <c:v>0.0</c:v>
                </c:pt>
                <c:pt idx="8">
                  <c:v>8.5</c:v>
                </c:pt>
                <c:pt idx="9">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28.34</a:t>
                    </a:r>
                  </a:p>
                </c:rich>
              </c:tx>
              <c:dLblPos val="t"/>
              <c:showLegendKey val="0"/>
              <c:showVal val="1"/>
              <c:showCatName val="0"/>
              <c:showSerName val="0"/>
              <c:showPercent val="0"/>
              <c:showBubbleSize val="0"/>
            </c:dLbl>
            <c:dLbl>
              <c:idx val="1"/>
              <c:tx>
                <c:rich>
                  <a:bodyPr/>
                  <a:lstStyle/>
                  <a:p>
                    <a:r>
                      <a:t>0.0</a:t>
                    </a:r>
                  </a:p>
                </c:rich>
              </c:tx>
              <c:dLblPos val="t"/>
              <c:showLegendKey val="0"/>
              <c:showVal val="1"/>
              <c:showCatName val="0"/>
              <c:showSerName val="0"/>
              <c:showPercent val="0"/>
              <c:showBubbleSize val="0"/>
            </c:dLbl>
            <c:dLbl>
              <c:idx val="2"/>
              <c:tx>
                <c:rich>
                  <a:bodyPr/>
                  <a:lstStyle/>
                  <a:p>
                    <a:r>
                      <a:t>1293.91</a:t>
                    </a:r>
                  </a:p>
                </c:rich>
              </c:tx>
              <c:dLblPos val="t"/>
              <c:showLegendKey val="0"/>
              <c:showVal val="1"/>
              <c:showCatName val="0"/>
              <c:showSerName val="0"/>
              <c:showPercent val="0"/>
              <c:showBubbleSize val="0"/>
            </c:dLbl>
            <c:dLbl>
              <c:idx val="3"/>
              <c:tx>
                <c:rich>
                  <a:bodyPr/>
                  <a:lstStyle/>
                  <a:p>
                    <a:r>
                      <a:t>3103.44</a:t>
                    </a:r>
                  </a:p>
                </c:rich>
              </c:tx>
              <c:dLblPos val="t"/>
              <c:showLegendKey val="0"/>
              <c:showVal val="1"/>
              <c:showCatName val="0"/>
              <c:showSerName val="0"/>
              <c:showPercent val="0"/>
              <c:showBubbleSize val="0"/>
            </c:dLbl>
            <c:dLbl>
              <c:idx val="4"/>
              <c:tx>
                <c:rich>
                  <a:bodyPr/>
                  <a:lstStyle/>
                  <a:p>
                    <a:r>
                      <a:t>1366.22</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096.72</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dLbl>
              <c:idx val="8"/>
              <c:tx>
                <c:rich>
                  <a:bodyPr/>
                  <a:lstStyle/>
                  <a:p>
                    <a:r>
                      <a:t>1295.2</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No Spray Crema</c:v>
                  </c:pt>
                  <c:pt idx="2">
                    <c:v>No Spray Liquido</c:v>
                  </c:pt>
                  <c:pt idx="4">
                    <c:v>Spray Liquido</c:v>
                  </c:pt>
                  <c:pt idx="6">
                    <c:v>No Spray Gel</c:v>
                  </c:pt>
                  <c:pt idx="8">
                    <c:v>No Spray Locion</c:v>
                  </c:pt>
                </c:lvl>
              </c:multiLvlStrCache>
            </c:multiLvlStrRef>
          </c:cat>
          <c:val>
            <c:numRef>
              <c:f>Sheet1!$D$2:$D$11</c:f>
              <c:numCache>
                <c:formatCode>General</c:formatCode>
                <c:ptCount val="10"/>
                <c:pt idx="0">
                  <c:v>1328.3386</c:v>
                </c:pt>
                <c:pt idx="1">
                  <c:v>0.0</c:v>
                </c:pt>
                <c:pt idx="2">
                  <c:v>1293.9094</c:v>
                </c:pt>
                <c:pt idx="3">
                  <c:v>3103.4389</c:v>
                </c:pt>
                <c:pt idx="4">
                  <c:v>1366.2236</c:v>
                </c:pt>
                <c:pt idx="5">
                  <c:v>0.0</c:v>
                </c:pt>
                <c:pt idx="6">
                  <c:v>1096.7208</c:v>
                </c:pt>
                <c:pt idx="7">
                  <c:v>0.0</c:v>
                </c:pt>
                <c:pt idx="8">
                  <c:v>1295.199</c:v>
                </c:pt>
                <c:pt idx="9">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No Spray Crema</c:v>
                  </c:pt>
                  <c:pt idx="2">
                    <c:v>No Spray Liquido</c:v>
                  </c:pt>
                  <c:pt idx="4">
                    <c:v>No Spray Gel</c:v>
                  </c:pt>
                  <c:pt idx="6">
                    <c:v>Spray Liquido</c:v>
                  </c:pt>
                  <c:pt idx="8">
                    <c:v>No Spray Fluido</c:v>
                  </c:pt>
                </c:lvl>
              </c:multiLvlStrCache>
            </c:multiLvlStrRef>
          </c:cat>
          <c:val>
            <c:numRef>
              <c:f>Sheet1!$C$2:$C$11</c:f>
              <c:numCache>
                <c:formatCode>General</c:formatCode>
                <c:ptCount val="10"/>
                <c:pt idx="0">
                  <c:v>126.0</c:v>
                </c:pt>
                <c:pt idx="1">
                  <c:v>0.0</c:v>
                </c:pt>
                <c:pt idx="2">
                  <c:v>61.7</c:v>
                </c:pt>
                <c:pt idx="3">
                  <c:v>1.8</c:v>
                </c:pt>
                <c:pt idx="4">
                  <c:v>25.2</c:v>
                </c:pt>
                <c:pt idx="5">
                  <c:v>0.0</c:v>
                </c:pt>
                <c:pt idx="6">
                  <c:v>17.1</c:v>
                </c:pt>
                <c:pt idx="7">
                  <c:v>0.0</c:v>
                </c:pt>
                <c:pt idx="8">
                  <c:v>9.0</c:v>
                </c:pt>
                <c:pt idx="9">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32.6</a:t>
                    </a:r>
                  </a:p>
                </c:rich>
              </c:tx>
              <c:dLblPos val="t"/>
              <c:showLegendKey val="0"/>
              <c:showVal val="1"/>
              <c:showCatName val="0"/>
              <c:showSerName val="0"/>
              <c:showPercent val="0"/>
              <c:showBubbleSize val="0"/>
            </c:dLbl>
            <c:dLbl>
              <c:idx val="1"/>
              <c:tx>
                <c:rich>
                  <a:bodyPr/>
                  <a:lstStyle/>
                  <a:p>
                    <a:r>
                      <a:t>0.0</a:t>
                    </a:r>
                  </a:p>
                </c:rich>
              </c:tx>
              <c:dLblPos val="t"/>
              <c:showLegendKey val="0"/>
              <c:showVal val="1"/>
              <c:showCatName val="0"/>
              <c:showSerName val="0"/>
              <c:showPercent val="0"/>
              <c:showBubbleSize val="0"/>
            </c:dLbl>
            <c:dLbl>
              <c:idx val="2"/>
              <c:tx>
                <c:rich>
                  <a:bodyPr/>
                  <a:lstStyle/>
                  <a:p>
                    <a:r>
                      <a:t>1356.78</a:t>
                    </a:r>
                  </a:p>
                </c:rich>
              </c:tx>
              <c:dLblPos val="t"/>
              <c:showLegendKey val="0"/>
              <c:showVal val="1"/>
              <c:showCatName val="0"/>
              <c:showSerName val="0"/>
              <c:showPercent val="0"/>
              <c:showBubbleSize val="0"/>
            </c:dLbl>
            <c:dLbl>
              <c:idx val="3"/>
              <c:tx>
                <c:rich>
                  <a:bodyPr/>
                  <a:lstStyle/>
                  <a:p>
                    <a:r>
                      <a:t>4233.14</a:t>
                    </a:r>
                  </a:p>
                </c:rich>
              </c:tx>
              <c:dLblPos val="t"/>
              <c:showLegendKey val="0"/>
              <c:showVal val="1"/>
              <c:showCatName val="0"/>
              <c:showSerName val="0"/>
              <c:showPercent val="0"/>
              <c:showBubbleSize val="0"/>
            </c:dLbl>
            <c:dLbl>
              <c:idx val="4"/>
              <c:tx>
                <c:rich>
                  <a:bodyPr/>
                  <a:lstStyle/>
                  <a:p>
                    <a:r>
                      <a:t>1409.56</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378.81</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dLbl>
              <c:idx val="8"/>
              <c:tx>
                <c:rich>
                  <a:bodyPr/>
                  <a:lstStyle/>
                  <a:p>
                    <a:r>
                      <a:t>11757.14</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No Spray Crema</c:v>
                  </c:pt>
                  <c:pt idx="2">
                    <c:v>No Spray Liquido</c:v>
                  </c:pt>
                  <c:pt idx="4">
                    <c:v>No Spray Gel</c:v>
                  </c:pt>
                  <c:pt idx="6">
                    <c:v>Spray Liquido</c:v>
                  </c:pt>
                  <c:pt idx="8">
                    <c:v>No Spray Fluido</c:v>
                  </c:pt>
                </c:lvl>
              </c:multiLvlStrCache>
            </c:multiLvlStrRef>
          </c:cat>
          <c:val>
            <c:numRef>
              <c:f>Sheet1!$D$2:$D$11</c:f>
              <c:numCache>
                <c:formatCode>General</c:formatCode>
                <c:ptCount val="10"/>
                <c:pt idx="0">
                  <c:v>1532.6046</c:v>
                </c:pt>
                <c:pt idx="1">
                  <c:v>0.0</c:v>
                </c:pt>
                <c:pt idx="2">
                  <c:v>1356.777</c:v>
                </c:pt>
                <c:pt idx="3">
                  <c:v>4233.1399</c:v>
                </c:pt>
                <c:pt idx="4">
                  <c:v>1409.5581</c:v>
                </c:pt>
                <c:pt idx="5">
                  <c:v>0.0</c:v>
                </c:pt>
                <c:pt idx="6">
                  <c:v>1378.8089</c:v>
                </c:pt>
                <c:pt idx="7">
                  <c:v>0.0</c:v>
                </c:pt>
                <c:pt idx="8">
                  <c:v>11757.1438</c:v>
                </c:pt>
                <c:pt idx="9">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No Spray Crema</c:v>
                  </c:pt>
                  <c:pt idx="2">
                    <c:v>No Spray Liquido</c:v>
                  </c:pt>
                  <c:pt idx="4">
                    <c:v>Spray Liquido</c:v>
                  </c:pt>
                  <c:pt idx="6">
                    <c:v>No Spray Gel</c:v>
                  </c:pt>
                  <c:pt idx="8">
                    <c:v>No Spray Locion</c:v>
                  </c:pt>
                </c:lvl>
              </c:multiLvlStrCache>
            </c:multiLvlStrRef>
          </c:cat>
          <c:val>
            <c:numRef>
              <c:f>Sheet1!$C$2:$C$11</c:f>
              <c:numCache>
                <c:formatCode>General</c:formatCode>
                <c:ptCount val="10"/>
                <c:pt idx="0">
                  <c:v>116.9</c:v>
                </c:pt>
                <c:pt idx="1">
                  <c:v>0.0</c:v>
                </c:pt>
                <c:pt idx="2">
                  <c:v>56.1</c:v>
                </c:pt>
                <c:pt idx="3">
                  <c:v>2.0</c:v>
                </c:pt>
                <c:pt idx="4">
                  <c:v>24.2</c:v>
                </c:pt>
                <c:pt idx="5">
                  <c:v>0.0</c:v>
                </c:pt>
                <c:pt idx="6">
                  <c:v>20.7</c:v>
                </c:pt>
                <c:pt idx="7">
                  <c:v>0.0</c:v>
                </c:pt>
                <c:pt idx="8">
                  <c:v>8.8</c:v>
                </c:pt>
                <c:pt idx="9">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34.65</a:t>
                    </a:r>
                  </a:p>
                </c:rich>
              </c:tx>
              <c:dLblPos val="t"/>
              <c:showLegendKey val="0"/>
              <c:showVal val="1"/>
              <c:showCatName val="0"/>
              <c:showSerName val="0"/>
              <c:showPercent val="0"/>
              <c:showBubbleSize val="0"/>
            </c:dLbl>
            <c:dLbl>
              <c:idx val="1"/>
              <c:tx>
                <c:rich>
                  <a:bodyPr/>
                  <a:lstStyle/>
                  <a:p>
                    <a:r>
                      <a:t>0.0</a:t>
                    </a:r>
                  </a:p>
                </c:rich>
              </c:tx>
              <c:dLblPos val="t"/>
              <c:showLegendKey val="0"/>
              <c:showVal val="1"/>
              <c:showCatName val="0"/>
              <c:showSerName val="0"/>
              <c:showPercent val="0"/>
              <c:showBubbleSize val="0"/>
            </c:dLbl>
            <c:dLbl>
              <c:idx val="2"/>
              <c:tx>
                <c:rich>
                  <a:bodyPr/>
                  <a:lstStyle/>
                  <a:p>
                    <a:r>
                      <a:t>1376.76</a:t>
                    </a:r>
                  </a:p>
                </c:rich>
              </c:tx>
              <c:dLblPos val="t"/>
              <c:showLegendKey val="0"/>
              <c:showVal val="1"/>
              <c:showCatName val="0"/>
              <c:showSerName val="0"/>
              <c:showPercent val="0"/>
              <c:showBubbleSize val="0"/>
            </c:dLbl>
            <c:dLbl>
              <c:idx val="3"/>
              <c:tx>
                <c:rich>
                  <a:bodyPr/>
                  <a:lstStyle/>
                  <a:p>
                    <a:r>
                      <a:t>4326.95</a:t>
                    </a:r>
                  </a:p>
                </c:rich>
              </c:tx>
              <c:dLblPos val="t"/>
              <c:showLegendKey val="0"/>
              <c:showVal val="1"/>
              <c:showCatName val="0"/>
              <c:showSerName val="0"/>
              <c:showPercent val="0"/>
              <c:showBubbleSize val="0"/>
            </c:dLbl>
            <c:dLbl>
              <c:idx val="4"/>
              <c:tx>
                <c:rich>
                  <a:bodyPr/>
                  <a:lstStyle/>
                  <a:p>
                    <a:r>
                      <a:t>1460.51</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360.15</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dLbl>
              <c:idx val="8"/>
              <c:tx>
                <c:rich>
                  <a:bodyPr/>
                  <a:lstStyle/>
                  <a:p>
                    <a:r>
                      <a:t>1409.54</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No Spray Crema</c:v>
                  </c:pt>
                  <c:pt idx="2">
                    <c:v>No Spray Liquido</c:v>
                  </c:pt>
                  <c:pt idx="4">
                    <c:v>Spray Liquido</c:v>
                  </c:pt>
                  <c:pt idx="6">
                    <c:v>No Spray Gel</c:v>
                  </c:pt>
                  <c:pt idx="8">
                    <c:v>No Spray Locion</c:v>
                  </c:pt>
                </c:lvl>
              </c:multiLvlStrCache>
            </c:multiLvlStrRef>
          </c:cat>
          <c:val>
            <c:numRef>
              <c:f>Sheet1!$D$2:$D$11</c:f>
              <c:numCache>
                <c:formatCode>General</c:formatCode>
                <c:ptCount val="10"/>
                <c:pt idx="0">
                  <c:v>1534.6503</c:v>
                </c:pt>
                <c:pt idx="1">
                  <c:v>0.0</c:v>
                </c:pt>
                <c:pt idx="2">
                  <c:v>1376.7646</c:v>
                </c:pt>
                <c:pt idx="3">
                  <c:v>4326.949</c:v>
                </c:pt>
                <c:pt idx="4">
                  <c:v>1460.5051</c:v>
                </c:pt>
                <c:pt idx="5">
                  <c:v>0.0</c:v>
                </c:pt>
                <c:pt idx="6">
                  <c:v>1360.1494</c:v>
                </c:pt>
                <c:pt idx="7">
                  <c:v>0.0</c:v>
                </c:pt>
                <c:pt idx="8">
                  <c:v>1409.5431</c:v>
                </c:pt>
                <c:pt idx="9">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Pt>
            <c:idx val="2"/>
            <c:spPr>
              <a:solidFill>
                <a:srgbClr val="BCBBBB"/>
              </a:solidFill>
            </c:spPr>
          </c:dPt>
          <c:dPt>
            <c:idx val="4"/>
            <c:spPr>
              <a:solidFill>
                <a:srgbClr val="BCBBBB"/>
              </a:solidFill>
            </c:spPr>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No Spray Crema</c:v>
                  </c:pt>
                  <c:pt idx="2">
                    <c:v>No Spray Liquido</c:v>
                  </c:pt>
                  <c:pt idx="4">
                    <c:v>Spray Liquido</c:v>
                  </c:pt>
                  <c:pt idx="6">
                    <c:v>No Spray Gel</c:v>
                  </c:pt>
                  <c:pt idx="8">
                    <c:v>No Spray Locion</c:v>
                  </c:pt>
                </c:lvl>
              </c:multiLvlStrCache>
            </c:multiLvlStrRef>
          </c:cat>
          <c:val>
            <c:numRef>
              <c:f>Sheet1!$C$2:$C$11</c:f>
              <c:numCache>
                <c:formatCode>General</c:formatCode>
                <c:ptCount val="10"/>
                <c:pt idx="0">
                  <c:v>79.1</c:v>
                </c:pt>
                <c:pt idx="1">
                  <c:v>0.0</c:v>
                </c:pt>
                <c:pt idx="2">
                  <c:v>44.5</c:v>
                </c:pt>
                <c:pt idx="3">
                  <c:v>1.5</c:v>
                </c:pt>
                <c:pt idx="4">
                  <c:v>24.6</c:v>
                </c:pt>
                <c:pt idx="5">
                  <c:v>0.0</c:v>
                </c:pt>
                <c:pt idx="6">
                  <c:v>15.5</c:v>
                </c:pt>
                <c:pt idx="7">
                  <c:v>0.0</c:v>
                </c:pt>
                <c:pt idx="8">
                  <c:v>5.7</c:v>
                </c:pt>
                <c:pt idx="9">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564.02</a:t>
                    </a:r>
                  </a:p>
                </c:rich>
              </c:tx>
              <c:dLblPos val="t"/>
              <c:showLegendKey val="0"/>
              <c:showVal val="1"/>
              <c:showCatName val="0"/>
              <c:showSerName val="0"/>
              <c:showPercent val="0"/>
              <c:showBubbleSize val="0"/>
            </c:dLbl>
            <c:dLbl>
              <c:idx val="1"/>
              <c:tx>
                <c:rich>
                  <a:bodyPr/>
                  <a:lstStyle/>
                  <a:p>
                    <a:r>
                      <a:t>0.0</a:t>
                    </a:r>
                  </a:p>
                </c:rich>
              </c:tx>
              <c:dLblPos val="t"/>
              <c:showLegendKey val="0"/>
              <c:showVal val="1"/>
              <c:showCatName val="0"/>
              <c:showSerName val="0"/>
              <c:showPercent val="0"/>
              <c:showBubbleSize val="0"/>
            </c:dLbl>
            <c:dLbl>
              <c:idx val="2"/>
              <c:tx>
                <c:rich>
                  <a:bodyPr/>
                  <a:lstStyle/>
                  <a:p>
                    <a:r>
                      <a:t>1380.4</a:t>
                    </a:r>
                  </a:p>
                </c:rich>
              </c:tx>
              <c:dLblPos val="t"/>
              <c:showLegendKey val="0"/>
              <c:showVal val="1"/>
              <c:showCatName val="0"/>
              <c:showSerName val="0"/>
              <c:showPercent val="0"/>
              <c:showBubbleSize val="0"/>
            </c:dLbl>
            <c:dLbl>
              <c:idx val="3"/>
              <c:tx>
                <c:rich>
                  <a:bodyPr/>
                  <a:lstStyle/>
                  <a:p>
                    <a:r>
                      <a:t>4326.43</a:t>
                    </a:r>
                  </a:p>
                </c:rich>
              </c:tx>
              <c:dLblPos val="t"/>
              <c:showLegendKey val="0"/>
              <c:showVal val="1"/>
              <c:showCatName val="0"/>
              <c:showSerName val="0"/>
              <c:showPercent val="0"/>
              <c:showBubbleSize val="0"/>
            </c:dLbl>
            <c:dLbl>
              <c:idx val="4"/>
              <c:tx>
                <c:rich>
                  <a:bodyPr/>
                  <a:lstStyle/>
                  <a:p>
                    <a:r>
                      <a:t>1444.43</a:t>
                    </a:r>
                  </a:p>
                </c:rich>
              </c:tx>
              <c:dLblPos val="t"/>
              <c:showLegendKey val="0"/>
              <c:showVal val="1"/>
              <c:showCatName val="0"/>
              <c:showSerName val="0"/>
              <c:showPercent val="0"/>
              <c:showBubbleSize val="0"/>
            </c:dLbl>
            <c:dLbl>
              <c:idx val="5"/>
              <c:tx>
                <c:rich>
                  <a:bodyPr/>
                  <a:lstStyle/>
                  <a:p>
                    <a:r>
                      <a:t>0.0</a:t>
                    </a:r>
                  </a:p>
                </c:rich>
              </c:tx>
              <c:dLblPos val="t"/>
              <c:showLegendKey val="0"/>
              <c:showVal val="1"/>
              <c:showCatName val="0"/>
              <c:showSerName val="0"/>
              <c:showPercent val="0"/>
              <c:showBubbleSize val="0"/>
            </c:dLbl>
            <c:dLbl>
              <c:idx val="6"/>
              <c:tx>
                <c:rich>
                  <a:bodyPr/>
                  <a:lstStyle/>
                  <a:p>
                    <a:r>
                      <a:t>1303.04</a:t>
                    </a:r>
                  </a:p>
                </c:rich>
              </c:tx>
              <c:dLblPos val="t"/>
              <c:showLegendKey val="0"/>
              <c:showVal val="1"/>
              <c:showCatName val="0"/>
              <c:showSerName val="0"/>
              <c:showPercent val="0"/>
              <c:showBubbleSize val="0"/>
            </c:dLbl>
            <c:dLbl>
              <c:idx val="7"/>
              <c:tx>
                <c:rich>
                  <a:bodyPr/>
                  <a:lstStyle/>
                  <a:p>
                    <a:r>
                      <a:t>0.0</a:t>
                    </a:r>
                  </a:p>
                </c:rich>
              </c:tx>
              <c:dLblPos val="t"/>
              <c:showLegendKey val="0"/>
              <c:showVal val="1"/>
              <c:showCatName val="0"/>
              <c:showSerName val="0"/>
              <c:showPercent val="0"/>
              <c:showBubbleSize val="0"/>
            </c:dLbl>
            <c:dLbl>
              <c:idx val="8"/>
              <c:tx>
                <c:rich>
                  <a:bodyPr/>
                  <a:lstStyle/>
                  <a:p>
                    <a:r>
                      <a:t>1471.52</a:t>
                    </a:r>
                  </a:p>
                </c:rich>
              </c:tx>
              <c:dLblPos val="t"/>
              <c:showLegendKey val="0"/>
              <c:showVal val="1"/>
              <c:showCatName val="0"/>
              <c:showSerName val="0"/>
              <c:showPercent val="0"/>
              <c:showBubbleSize val="0"/>
            </c:dLbl>
            <c:dLbl>
              <c:idx val="9"/>
              <c:tx>
                <c:rich>
                  <a:bodyPr/>
                  <a:lstStyle/>
                  <a:p>
                    <a:r>
                      <a:t>0.0</a:t>
                    </a:r>
                  </a:p>
                </c:rich>
              </c:tx>
              <c:dLblPos val="t"/>
              <c:showLegendKey val="0"/>
              <c:showVal val="1"/>
              <c:showCatName val="0"/>
              <c:showSerName val="0"/>
              <c:showPercent val="0"/>
              <c:showBubbleSize val="0"/>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eauty Care</c:v>
                  </c:pt>
                  <c:pt idx="2">
                    <c:v>Total</c:v>
                  </c:pt>
                  <c:pt idx="3">
                    <c:v>Beauty Care</c:v>
                  </c:pt>
                  <c:pt idx="4">
                    <c:v>Total</c:v>
                  </c:pt>
                  <c:pt idx="5">
                    <c:v>Beauty Care</c:v>
                  </c:pt>
                  <c:pt idx="6">
                    <c:v>Total</c:v>
                  </c:pt>
                  <c:pt idx="7">
                    <c:v>Beauty Care</c:v>
                  </c:pt>
                  <c:pt idx="8">
                    <c:v>Total</c:v>
                  </c:pt>
                  <c:pt idx="9">
                    <c:v>Beauty Care</c:v>
                  </c:pt>
                </c:lvl>
                <c:lvl>
                  <c:pt idx="0">
                    <c:v>No Spray Crema</c:v>
                  </c:pt>
                  <c:pt idx="2">
                    <c:v>No Spray Liquido</c:v>
                  </c:pt>
                  <c:pt idx="4">
                    <c:v>Spray Liquido</c:v>
                  </c:pt>
                  <c:pt idx="6">
                    <c:v>No Spray Gel</c:v>
                  </c:pt>
                  <c:pt idx="8">
                    <c:v>No Spray Locion</c:v>
                  </c:pt>
                </c:lvl>
              </c:multiLvlStrCache>
            </c:multiLvlStrRef>
          </c:cat>
          <c:val>
            <c:numRef>
              <c:f>Sheet1!$D$2:$D$11</c:f>
              <c:numCache>
                <c:formatCode>General</c:formatCode>
                <c:ptCount val="10"/>
                <c:pt idx="0">
                  <c:v>1564.0227</c:v>
                </c:pt>
                <c:pt idx="1">
                  <c:v>0.0</c:v>
                </c:pt>
                <c:pt idx="2">
                  <c:v>1380.4037</c:v>
                </c:pt>
                <c:pt idx="3">
                  <c:v>4326.4348</c:v>
                </c:pt>
                <c:pt idx="4">
                  <c:v>1444.4341</c:v>
                </c:pt>
                <c:pt idx="5">
                  <c:v>0.0</c:v>
                </c:pt>
                <c:pt idx="6">
                  <c:v>1303.0379</c:v>
                </c:pt>
                <c:pt idx="7">
                  <c:v>0.0</c:v>
                </c:pt>
                <c:pt idx="8">
                  <c:v>1471.5245</c:v>
                </c:pt>
                <c:pt idx="9">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69EC354-0131-41D9-B60B-8867CCB0A5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468C7A5-DEBD-4C1C-B5E0-488DF54615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4A6BF2B-AF4C-49EC-B816-F5591D70E2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26DB094-F4B9-4DC0-B5D1-F0D62CC2C1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C598D74-42F8-4B66-B338-3F53C6A17A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A761851-97ED-4527-9383-03553C7EBF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2AAFA9C-6D6C-4874-9F3C-D7212FDE1E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4856872-1CBF-4A0D-BAB3-B5A7DE4CF5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4.644</c:v>
                </c:pt>
                <c:pt idx="1">
                  <c:v>216.9883</c:v>
                </c:pt>
                <c:pt idx="2">
                  <c:v>239.3914</c:v>
                </c:pt>
                <c:pt idx="3">
                  <c:v>586.881</c:v>
                </c:pt>
                <c:pt idx="4">
                  <c:v>296.9305</c:v>
                </c:pt>
                <c:pt idx="5">
                  <c:v>88.2402</c:v>
                </c:pt>
                <c:pt idx="6">
                  <c:v>572.4655</c:v>
                </c:pt>
                <c:pt idx="7">
                  <c:v>221.1781</c:v>
                </c:pt>
              </c:numCache>
            </c:numRef>
          </c:xVal>
          <c:yVal>
            <c:numRef>
              <c:f>Sheet1!$B$2:$B$9</c:f>
              <c:numCache>
                <c:formatCode>General</c:formatCode>
                <c:ptCount val="8"/>
                <c:pt idx="0">
                  <c:v>1.037</c:v>
                </c:pt>
                <c:pt idx="1">
                  <c:v>0.75</c:v>
                </c:pt>
                <c:pt idx="2">
                  <c:v>0.754</c:v>
                </c:pt>
                <c:pt idx="3">
                  <c:v>3.708</c:v>
                </c:pt>
                <c:pt idx="4">
                  <c:v>2.056</c:v>
                </c:pt>
                <c:pt idx="5">
                  <c:v>0.407</c:v>
                </c:pt>
                <c:pt idx="6">
                  <c:v>6.471</c:v>
                </c:pt>
                <c:pt idx="7">
                  <c:v>2.597</c:v>
                </c:pt>
              </c:numCache>
            </c:numRef>
          </c:yVal>
          <c:bubbleSize>
            <c:numRef>
              <c:f>Sheet1!$C$2:$C$9</c:f>
              <c:numCache>
                <c:formatCode>General</c:formatCode>
                <c:ptCount val="8"/>
                <c:pt idx="0">
                  <c:v>62386660</c:v>
                </c:pt>
                <c:pt idx="1">
                  <c:v>43481848</c:v>
                </c:pt>
                <c:pt idx="2">
                  <c:v>31112739</c:v>
                </c:pt>
                <c:pt idx="3">
                  <c:v>16232541</c:v>
                </c:pt>
                <c:pt idx="4">
                  <c:v>15380108</c:v>
                </c:pt>
                <c:pt idx="5">
                  <c:v>8716542</c:v>
                </c:pt>
                <c:pt idx="6">
                  <c:v>5961083</c:v>
                </c:pt>
                <c:pt idx="7">
                  <c:v>195145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4.0"/>
          <c:min val="7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17297223-8562-4C82-AEC4-AE2322A43D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3EAB8929-EF17-450B-BDDB-5256408438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D0EE88A6-B4EC-4608-92D9-7EF3ADFD16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AEF8A61B-BC6A-4787-AE65-AB2098A4C1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0DAEC1CF-B16E-4BB5-AE9F-5FD3FAC5E8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1AF0D8B3-F8EA-457A-B1F6-751EE10DF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C5681D7C-F1AD-4C00-BE9A-D5964357DD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C9119C6A-22BC-4744-ACE5-D12311C9B2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06.1356</c:v>
                </c:pt>
                <c:pt idx="1">
                  <c:v>269.3955</c:v>
                </c:pt>
                <c:pt idx="2">
                  <c:v>500.0714</c:v>
                </c:pt>
                <c:pt idx="3">
                  <c:v>490.0442</c:v>
                </c:pt>
                <c:pt idx="4">
                  <c:v>179.2867</c:v>
                </c:pt>
                <c:pt idx="5">
                  <c:v>368.3226</c:v>
                </c:pt>
              </c:numCache>
            </c:numRef>
          </c:xVal>
          <c:yVal>
            <c:numRef>
              <c:f>Sheet1!$B$2:$B$7</c:f>
              <c:numCache>
                <c:formatCode>General</c:formatCode>
                <c:ptCount val="6"/>
                <c:pt idx="0">
                  <c:v>3.967</c:v>
                </c:pt>
                <c:pt idx="1">
                  <c:v>0.689</c:v>
                </c:pt>
                <c:pt idx="2">
                  <c:v>3.95</c:v>
                </c:pt>
                <c:pt idx="3">
                  <c:v>6.693</c:v>
                </c:pt>
                <c:pt idx="4">
                  <c:v>0.363</c:v>
                </c:pt>
                <c:pt idx="5">
                  <c:v>7.516</c:v>
                </c:pt>
              </c:numCache>
            </c:numRef>
          </c:yVal>
          <c:bubbleSize>
            <c:numRef>
              <c:f>Sheet1!$C$2:$C$7</c:f>
              <c:numCache>
                <c:formatCode>General</c:formatCode>
                <c:ptCount val="6"/>
                <c:pt idx="0">
                  <c:v>415809</c:v>
                </c:pt>
                <c:pt idx="1">
                  <c:v>215247</c:v>
                </c:pt>
                <c:pt idx="2">
                  <c:v>126018</c:v>
                </c:pt>
                <c:pt idx="3">
                  <c:v>122021</c:v>
                </c:pt>
                <c:pt idx="4">
                  <c:v>76914</c:v>
                </c:pt>
                <c:pt idx="5">
                  <c:v>3425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7.0"/>
          <c:min val="14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26A35E74-9CF7-40E4-9B0F-4F325CB409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3CC02A26-081C-4CB0-91D1-C9FBB174BB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42207F25-F956-4060-9386-2143CF5438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A9C3FC76-4F38-45B8-8377-D4556D18D8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DC97C4B5-7B67-40A8-AA7A-A20EE5140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AFCBE317-E682-4B2F-9FDF-8E904C4F34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61974746-367D-4FCD-914D-20B2EE2AE6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9862E929-2786-43B2-ACB9-00289823DA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0.8802</c:v>
                </c:pt>
                <c:pt idx="1">
                  <c:v>257.7494</c:v>
                </c:pt>
                <c:pt idx="2">
                  <c:v>78.9321</c:v>
                </c:pt>
                <c:pt idx="3">
                  <c:v>74.7261</c:v>
                </c:pt>
                <c:pt idx="4">
                  <c:v>703.9447</c:v>
                </c:pt>
                <c:pt idx="5">
                  <c:v>604.1472</c:v>
                </c:pt>
                <c:pt idx="6">
                  <c:v>581.9242</c:v>
                </c:pt>
                <c:pt idx="7">
                  <c:v>141.6833</c:v>
                </c:pt>
              </c:numCache>
            </c:numRef>
          </c:xVal>
          <c:yVal>
            <c:numRef>
              <c:f>Sheet1!$B$2:$B$9</c:f>
              <c:numCache>
                <c:formatCode>General</c:formatCode>
                <c:ptCount val="8"/>
                <c:pt idx="0">
                  <c:v>1.303</c:v>
                </c:pt>
                <c:pt idx="1">
                  <c:v>1.13</c:v>
                </c:pt>
                <c:pt idx="2">
                  <c:v>0.524</c:v>
                </c:pt>
                <c:pt idx="3">
                  <c:v>0.545</c:v>
                </c:pt>
                <c:pt idx="4">
                  <c:v>4.17</c:v>
                </c:pt>
                <c:pt idx="5">
                  <c:v>2.746</c:v>
                </c:pt>
                <c:pt idx="6">
                  <c:v>2.565</c:v>
                </c:pt>
                <c:pt idx="7">
                  <c:v>0.564</c:v>
                </c:pt>
              </c:numCache>
            </c:numRef>
          </c:yVal>
          <c:bubbleSize>
            <c:numRef>
              <c:f>Sheet1!$C$2:$C$9</c:f>
              <c:numCache>
                <c:formatCode>General</c:formatCode>
                <c:ptCount val="8"/>
                <c:pt idx="0">
                  <c:v>8828185</c:v>
                </c:pt>
                <c:pt idx="1">
                  <c:v>7927597</c:v>
                </c:pt>
                <c:pt idx="2">
                  <c:v>2649356</c:v>
                </c:pt>
                <c:pt idx="3">
                  <c:v>995501</c:v>
                </c:pt>
                <c:pt idx="4">
                  <c:v>420255</c:v>
                </c:pt>
                <c:pt idx="5">
                  <c:v>336510</c:v>
                </c:pt>
                <c:pt idx="6">
                  <c:v>238007</c:v>
                </c:pt>
                <c:pt idx="7">
                  <c:v>56815</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5.0"/>
          <c:min val="60.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48F6AA0-F8F5-455A-93C2-CB8075A11B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B4149C6-FDDC-4009-A471-DF864A16E0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491FD5E-7103-4E7B-BF46-A7B550C273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217DAAD-7CEC-4348-B3B3-291E7BD902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D619BF9-30BE-444D-81DE-E8BC4826EE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638A7FD-B8E5-45BA-936D-A84BB43540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6D3654E-9A61-453E-A5DE-65B85D9DC1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5405801-EBBD-4D70-B3A4-FBDA86C2B3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3491</c:v>
                </c:pt>
                <c:pt idx="1">
                  <c:v>219.3034</c:v>
                </c:pt>
                <c:pt idx="2">
                  <c:v>245.6148</c:v>
                </c:pt>
                <c:pt idx="3">
                  <c:v>295.5479</c:v>
                </c:pt>
                <c:pt idx="4">
                  <c:v>599.4627</c:v>
                </c:pt>
                <c:pt idx="5">
                  <c:v>84.1312</c:v>
                </c:pt>
                <c:pt idx="6">
                  <c:v>553.6225</c:v>
                </c:pt>
                <c:pt idx="7">
                  <c:v>222.3146</c:v>
                </c:pt>
              </c:numCache>
            </c:numRef>
          </c:xVal>
          <c:yVal>
            <c:numRef>
              <c:f>Sheet1!$B$2:$B$9</c:f>
              <c:numCache>
                <c:formatCode>General</c:formatCode>
                <c:ptCount val="8"/>
                <c:pt idx="0">
                  <c:v>1.077</c:v>
                </c:pt>
                <c:pt idx="1">
                  <c:v>0.777</c:v>
                </c:pt>
                <c:pt idx="2">
                  <c:v>0.803</c:v>
                </c:pt>
                <c:pt idx="3">
                  <c:v>2.069</c:v>
                </c:pt>
                <c:pt idx="4">
                  <c:v>4.165</c:v>
                </c:pt>
                <c:pt idx="5">
                  <c:v>0.424</c:v>
                </c:pt>
                <c:pt idx="6">
                  <c:v>7.551</c:v>
                </c:pt>
                <c:pt idx="7">
                  <c:v>2.67</c:v>
                </c:pt>
              </c:numCache>
            </c:numRef>
          </c:yVal>
          <c:bubbleSize>
            <c:numRef>
              <c:f>Sheet1!$C$2:$C$9</c:f>
              <c:numCache>
                <c:formatCode>General</c:formatCode>
                <c:ptCount val="8"/>
                <c:pt idx="0">
                  <c:v>61063981</c:v>
                </c:pt>
                <c:pt idx="1">
                  <c:v>31605343</c:v>
                </c:pt>
                <c:pt idx="2">
                  <c:v>24390778</c:v>
                </c:pt>
                <c:pt idx="3">
                  <c:v>9309759</c:v>
                </c:pt>
                <c:pt idx="4">
                  <c:v>5655931</c:v>
                </c:pt>
                <c:pt idx="5">
                  <c:v>4398549</c:v>
                </c:pt>
                <c:pt idx="6">
                  <c:v>3022225</c:v>
                </c:pt>
                <c:pt idx="7">
                  <c:v>14926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9.0"/>
          <c:min val="67.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AD75AAD3-C29B-4D2E-8008-6A6026A022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7733A318-C57F-475E-9A08-32DC287470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AC80BF42-BCE3-4D0C-B3A4-8FE83E2CFE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C175BC47-E5B0-4F6B-A951-EA7F6B8DBD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35946879-12B9-45BE-B5E0-6403996732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878068EF-AAF2-4F17-991F-E7A2FF00BC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D2206BED-BE4D-4116-B775-8F99FCC3FB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6681834D-EE24-4C4D-B1D9-BDE82E74DB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69.9414</c:v>
                </c:pt>
                <c:pt idx="1">
                  <c:v>632.3459</c:v>
                </c:pt>
                <c:pt idx="2">
                  <c:v>474.795</c:v>
                </c:pt>
                <c:pt idx="3">
                  <c:v>555.6875</c:v>
                </c:pt>
                <c:pt idx="4">
                  <c:v>219.7581</c:v>
                </c:pt>
                <c:pt idx="5">
                  <c:v>988.1111</c:v>
                </c:pt>
              </c:numCache>
            </c:numRef>
          </c:xVal>
          <c:yVal>
            <c:numRef>
              <c:f>Sheet1!$B$2:$B$7</c:f>
              <c:numCache>
                <c:formatCode>General</c:formatCode>
                <c:ptCount val="6"/>
                <c:pt idx="0">
                  <c:v>0.754</c:v>
                </c:pt>
                <c:pt idx="1">
                  <c:v>39.856</c:v>
                </c:pt>
                <c:pt idx="2">
                  <c:v>6.038</c:v>
                </c:pt>
                <c:pt idx="3">
                  <c:v>0.0</c:v>
                </c:pt>
                <c:pt idx="4">
                  <c:v>0.561</c:v>
                </c:pt>
                <c:pt idx="5">
                  <c:v>0.0</c:v>
                </c:pt>
              </c:numCache>
            </c:numRef>
          </c:yVal>
          <c:bubbleSize>
            <c:numRef>
              <c:f>Sheet1!$C$2:$C$7</c:f>
              <c:numCache>
                <c:formatCode>General</c:formatCode>
                <c:ptCount val="6"/>
                <c:pt idx="0">
                  <c:v>179781</c:v>
                </c:pt>
                <c:pt idx="1">
                  <c:v>168204</c:v>
                </c:pt>
                <c:pt idx="2">
                  <c:v>76442</c:v>
                </c:pt>
                <c:pt idx="3">
                  <c:v>35564</c:v>
                </c:pt>
                <c:pt idx="4">
                  <c:v>27250</c:v>
                </c:pt>
                <c:pt idx="5">
                  <c:v>8893</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6.0"/>
          <c:min val="176.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91B6B85B-6FA0-4E1A-B30B-E55A68806E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75374281-2653-443D-9B98-1454FAAAC2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81DDE9C7-FDB7-4693-876C-F82DF3C662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0C77176E-3143-4842-B4C5-1166F97614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AED5A7E4-0314-4107-BBAB-A1D5CA1172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3AD41041-9692-4709-949F-A7870B4B33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14260893-93E8-42B0-91A9-057AEADEC7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75EF09C7-3148-4653-AF7B-81FF014D43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52.0716</c:v>
                </c:pt>
                <c:pt idx="1">
                  <c:v>251.5904</c:v>
                </c:pt>
                <c:pt idx="2">
                  <c:v>70.286</c:v>
                </c:pt>
                <c:pt idx="3">
                  <c:v>73.1442</c:v>
                </c:pt>
                <c:pt idx="4">
                  <c:v>124.3258</c:v>
                </c:pt>
              </c:numCache>
            </c:numRef>
          </c:xVal>
          <c:yVal>
            <c:numRef>
              <c:f>Sheet1!$B$2:$B$6</c:f>
              <c:numCache>
                <c:formatCode>General</c:formatCode>
                <c:ptCount val="5"/>
                <c:pt idx="0">
                  <c:v>1.23</c:v>
                </c:pt>
                <c:pt idx="1">
                  <c:v>1.083</c:v>
                </c:pt>
                <c:pt idx="2">
                  <c:v>0.484</c:v>
                </c:pt>
                <c:pt idx="3">
                  <c:v>0.507</c:v>
                </c:pt>
                <c:pt idx="4">
                  <c:v>0.44</c:v>
                </c:pt>
              </c:numCache>
            </c:numRef>
          </c:yVal>
          <c:bubbleSize>
            <c:numRef>
              <c:f>Sheet1!$C$2:$C$6</c:f>
              <c:numCache>
                <c:formatCode>General</c:formatCode>
                <c:ptCount val="5"/>
                <c:pt idx="0">
                  <c:v>7751455</c:v>
                </c:pt>
                <c:pt idx="1">
                  <c:v>5581029</c:v>
                </c:pt>
                <c:pt idx="2">
                  <c:v>1108551</c:v>
                </c:pt>
                <c:pt idx="3">
                  <c:v>411290</c:v>
                </c:pt>
                <c:pt idx="4">
                  <c:v>4426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2.0"/>
          <c:min val="56.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09FD5D-3540-4351-BDF0-4867885EB7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617851-D709-47E7-B77A-F685AA5D2B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87386A0-E6FA-4D14-98F0-6B514DC1A2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1A5B241-B63F-4C81-A463-2462667FD9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8C109ED-AE6C-4058-8DEC-272E063F8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8FB124F-5E99-4B92-A64C-EC36BF3068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3E36321-8A09-41BB-BD9C-A9D2C368BA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FFA167A-7B96-41DC-ABC8-1680BC254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3.3146</c:v>
                </c:pt>
                <c:pt idx="1">
                  <c:v>211.9672</c:v>
                </c:pt>
                <c:pt idx="2">
                  <c:v>216.7766</c:v>
                </c:pt>
                <c:pt idx="3">
                  <c:v>89.0047</c:v>
                </c:pt>
                <c:pt idx="4">
                  <c:v>74.3605</c:v>
                </c:pt>
                <c:pt idx="5">
                  <c:v>206.3025</c:v>
                </c:pt>
              </c:numCache>
            </c:numRef>
          </c:xVal>
          <c:yVal>
            <c:numRef>
              <c:f>Sheet1!$B$2:$B$7</c:f>
              <c:numCache>
                <c:formatCode>General</c:formatCode>
                <c:ptCount val="6"/>
                <c:pt idx="0">
                  <c:v>1.228</c:v>
                </c:pt>
                <c:pt idx="1">
                  <c:v>0.899</c:v>
                </c:pt>
                <c:pt idx="2">
                  <c:v>0.89</c:v>
                </c:pt>
                <c:pt idx="3">
                  <c:v>0.494</c:v>
                </c:pt>
                <c:pt idx="4">
                  <c:v>0.457</c:v>
                </c:pt>
                <c:pt idx="5">
                  <c:v>2.963</c:v>
                </c:pt>
              </c:numCache>
            </c:numRef>
          </c:yVal>
          <c:bubbleSize>
            <c:numRef>
              <c:f>Sheet1!$C$2:$C$7</c:f>
              <c:numCache>
                <c:formatCode>General</c:formatCode>
                <c:ptCount val="6"/>
                <c:pt idx="0">
                  <c:v>523432960</c:v>
                </c:pt>
                <c:pt idx="1">
                  <c:v>195439881</c:v>
                </c:pt>
                <c:pt idx="2">
                  <c:v>125391144</c:v>
                </c:pt>
                <c:pt idx="3">
                  <c:v>45802720</c:v>
                </c:pt>
                <c:pt idx="4">
                  <c:v>23746346</c:v>
                </c:pt>
                <c:pt idx="5">
                  <c:v>1245902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2.0"/>
          <c:min val="59.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0641DE3B-3695-4CED-99FF-87B781EC6A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BE1FB271-E3E2-47CD-8645-64C63C141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27131C1A-FFDC-44E4-9CF8-C967C6136C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316C2AF5-5B46-4549-B399-66712492FB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A7C5C943-555A-42CB-9245-0A7CEE84BC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7A0B057D-512B-4414-8FDD-80E26429E7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26943B10-22B4-4A17-B75A-6E1997A76B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E3A35155-6257-4F31-8204-426835D457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77.1653</c:v>
                </c:pt>
                <c:pt idx="1">
                  <c:v>290.3909</c:v>
                </c:pt>
                <c:pt idx="2">
                  <c:v>563.7208</c:v>
                </c:pt>
                <c:pt idx="3">
                  <c:v>575.9708</c:v>
                </c:pt>
                <c:pt idx="4">
                  <c:v>539.5108</c:v>
                </c:pt>
                <c:pt idx="5">
                  <c:v>321.159</c:v>
                </c:pt>
                <c:pt idx="6">
                  <c:v>535.1501</c:v>
                </c:pt>
                <c:pt idx="7">
                  <c:v>653.6938</c:v>
                </c:pt>
              </c:numCache>
            </c:numRef>
          </c:xVal>
          <c:yVal>
            <c:numRef>
              <c:f>Sheet1!$B$2:$B$9</c:f>
              <c:numCache>
                <c:formatCode>General</c:formatCode>
                <c:ptCount val="8"/>
                <c:pt idx="0">
                  <c:v>1.419</c:v>
                </c:pt>
                <c:pt idx="1">
                  <c:v>0.688</c:v>
                </c:pt>
                <c:pt idx="2">
                  <c:v>2.135</c:v>
                </c:pt>
                <c:pt idx="3">
                  <c:v>1.708</c:v>
                </c:pt>
                <c:pt idx="4">
                  <c:v>1.445</c:v>
                </c:pt>
                <c:pt idx="5">
                  <c:v>0.835</c:v>
                </c:pt>
                <c:pt idx="6">
                  <c:v>1.907</c:v>
                </c:pt>
                <c:pt idx="7">
                  <c:v>1.192</c:v>
                </c:pt>
              </c:numCache>
            </c:numRef>
          </c:yVal>
          <c:bubbleSize>
            <c:numRef>
              <c:f>Sheet1!$C$2:$C$9</c:f>
              <c:numCache>
                <c:formatCode>General</c:formatCode>
                <c:ptCount val="8"/>
                <c:pt idx="0">
                  <c:v>108131910</c:v>
                </c:pt>
                <c:pt idx="1">
                  <c:v>99186490</c:v>
                </c:pt>
                <c:pt idx="2">
                  <c:v>44526055</c:v>
                </c:pt>
                <c:pt idx="3">
                  <c:v>39227065</c:v>
                </c:pt>
                <c:pt idx="4">
                  <c:v>23762215</c:v>
                </c:pt>
                <c:pt idx="5">
                  <c:v>13025888</c:v>
                </c:pt>
                <c:pt idx="6">
                  <c:v>11742263</c:v>
                </c:pt>
                <c:pt idx="7">
                  <c:v>1075849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4.0"/>
          <c:min val="232.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392D16E4-B9EF-421D-B9F2-D6FAF0B68C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6D12F76E-017E-4C69-A144-B09A6BEEC8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BFA81E98-C815-4276-8B54-2988F594FF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88C2B9C7-F12B-40DA-9A3B-064146814A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39383D47-FABF-47FB-9C82-325CD54EEB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CF85BA9E-A3AC-418A-BDB4-3E63824D4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3E3053D6-CB29-4298-A53F-427DD139CB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D10C449E-F730-4FB3-9640-95F66E4F51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48.9728</c:v>
                </c:pt>
                <c:pt idx="1">
                  <c:v>198.7268</c:v>
                </c:pt>
                <c:pt idx="2">
                  <c:v>74.7662</c:v>
                </c:pt>
              </c:numCache>
            </c:numRef>
          </c:xVal>
          <c:yVal>
            <c:numRef>
              <c:f>Sheet1!$B$2:$B$4</c:f>
              <c:numCache>
                <c:formatCode>General</c:formatCode>
                <c:ptCount val="3"/>
                <c:pt idx="0">
                  <c:v>1.132</c:v>
                </c:pt>
                <c:pt idx="1">
                  <c:v>1.077</c:v>
                </c:pt>
                <c:pt idx="2">
                  <c:v>0.591</c:v>
                </c:pt>
              </c:numCache>
            </c:numRef>
          </c:yVal>
          <c:bubbleSize>
            <c:numRef>
              <c:f>Sheet1!$C$2:$C$4</c:f>
              <c:numCache>
                <c:formatCode>General</c:formatCode>
                <c:ptCount val="3"/>
                <c:pt idx="0">
                  <c:v>79888408</c:v>
                </c:pt>
                <c:pt idx="1">
                  <c:v>51049534</c:v>
                </c:pt>
                <c:pt idx="2">
                  <c:v>1619003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9.0"/>
          <c:min val="60.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C932A8-E595-40EB-B14C-DAAA3C1DFD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7EB9D27-68F1-4993-8DEC-57A16DAB0A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A8C9834-A058-4603-ADA1-3B6EF1E199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9631369-0B46-4CF0-A409-060FA4DDC6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89AE03C-54B2-4D6B-99E6-419C790BB8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23A7E2B-2C6A-450C-AE24-D1078E6D3B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90DDEC7-6391-43BD-993D-165DD0E3B4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B70D224-C303-49FE-9679-04AF1BFAE8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4.0041</c:v>
                </c:pt>
                <c:pt idx="1">
                  <c:v>217.155</c:v>
                </c:pt>
                <c:pt idx="2">
                  <c:v>236.11</c:v>
                </c:pt>
                <c:pt idx="3">
                  <c:v>587.347</c:v>
                </c:pt>
                <c:pt idx="4">
                  <c:v>294.1069</c:v>
                </c:pt>
                <c:pt idx="5">
                  <c:v>85.7542</c:v>
                </c:pt>
                <c:pt idx="6">
                  <c:v>531.8736</c:v>
                </c:pt>
                <c:pt idx="7">
                  <c:v>221.1781</c:v>
                </c:pt>
              </c:numCache>
            </c:numRef>
          </c:xVal>
          <c:yVal>
            <c:numRef>
              <c:f>Sheet1!$B$2:$B$9</c:f>
              <c:numCache>
                <c:formatCode>General</c:formatCode>
                <c:ptCount val="8"/>
                <c:pt idx="0">
                  <c:v>1.067</c:v>
                </c:pt>
                <c:pt idx="1">
                  <c:v>0.781</c:v>
                </c:pt>
                <c:pt idx="2">
                  <c:v>0.763</c:v>
                </c:pt>
                <c:pt idx="3">
                  <c:v>4.016</c:v>
                </c:pt>
                <c:pt idx="4">
                  <c:v>2.214</c:v>
                </c:pt>
                <c:pt idx="5">
                  <c:v>0.422</c:v>
                </c:pt>
                <c:pt idx="6">
                  <c:v>6.583</c:v>
                </c:pt>
                <c:pt idx="7">
                  <c:v>2.791</c:v>
                </c:pt>
              </c:numCache>
            </c:numRef>
          </c:yVal>
          <c:bubbleSize>
            <c:numRef>
              <c:f>Sheet1!$C$2:$C$9</c:f>
              <c:numCache>
                <c:formatCode>General</c:formatCode>
                <c:ptCount val="8"/>
                <c:pt idx="0">
                  <c:v>73169020</c:v>
                </c:pt>
                <c:pt idx="1">
                  <c:v>47917858</c:v>
                </c:pt>
                <c:pt idx="2">
                  <c:v>41380400</c:v>
                </c:pt>
                <c:pt idx="3">
                  <c:v>16648350</c:v>
                </c:pt>
                <c:pt idx="4">
                  <c:v>15534431</c:v>
                </c:pt>
                <c:pt idx="5">
                  <c:v>11401966</c:v>
                </c:pt>
                <c:pt idx="6">
                  <c:v>7256352</c:v>
                </c:pt>
                <c:pt idx="7">
                  <c:v>195145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5.0"/>
          <c:min val="69.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0CE882-B496-46AC-AEC8-048EBA4E13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E493BDD-9E7E-4F0A-A925-D5BBEB4431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EA12352-1EFA-43DF-91DC-0F976C0192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C525274-F207-465B-917F-875EDAD4EE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2584626-FDAC-4962-975D-E22D9F283A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1FFC6B7-0CDB-40C9-8170-3B9A9FCE80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06837F1-478F-4E7C-AD05-43D5A35309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DAE00EA-4452-480C-9B74-9E4BB9A298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3.2715</c:v>
                </c:pt>
                <c:pt idx="1">
                  <c:v>202.0541</c:v>
                </c:pt>
                <c:pt idx="2">
                  <c:v>210.2211</c:v>
                </c:pt>
                <c:pt idx="3">
                  <c:v>88.9327</c:v>
                </c:pt>
                <c:pt idx="4">
                  <c:v>74.7126</c:v>
                </c:pt>
                <c:pt idx="5">
                  <c:v>227.9861</c:v>
                </c:pt>
              </c:numCache>
            </c:numRef>
          </c:xVal>
          <c:yVal>
            <c:numRef>
              <c:f>Sheet1!$B$2:$B$7</c:f>
              <c:numCache>
                <c:formatCode>General</c:formatCode>
                <c:ptCount val="6"/>
                <c:pt idx="0">
                  <c:v>1.228</c:v>
                </c:pt>
                <c:pt idx="1">
                  <c:v>0.89</c:v>
                </c:pt>
                <c:pt idx="2">
                  <c:v>0.848</c:v>
                </c:pt>
                <c:pt idx="3">
                  <c:v>0.486</c:v>
                </c:pt>
                <c:pt idx="4">
                  <c:v>0.454</c:v>
                </c:pt>
                <c:pt idx="5">
                  <c:v>3.162</c:v>
                </c:pt>
              </c:numCache>
            </c:numRef>
          </c:yVal>
          <c:bubbleSize>
            <c:numRef>
              <c:f>Sheet1!$C$2:$C$7</c:f>
              <c:numCache>
                <c:formatCode>General</c:formatCode>
                <c:ptCount val="6"/>
                <c:pt idx="0">
                  <c:v>111274571</c:v>
                </c:pt>
                <c:pt idx="1">
                  <c:v>42646557</c:v>
                </c:pt>
                <c:pt idx="2">
                  <c:v>26225287</c:v>
                </c:pt>
                <c:pt idx="3">
                  <c:v>9310814</c:v>
                </c:pt>
                <c:pt idx="4">
                  <c:v>6583303</c:v>
                </c:pt>
                <c:pt idx="5">
                  <c:v>301762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2.0"/>
          <c:min val="60.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C505E94-958C-41A9-B0BD-5285FDECCA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2DC133FE-9BC0-42F1-96AD-3C247B83E7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CAD9749E-2014-4F1D-BBD8-F1ED31F86C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FBB7D932-A1F6-45B4-949D-382D7AED5E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AC324A56-77F1-47E2-80D2-1906BD616D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B65ACAC8-8427-4FC2-A341-5D8C89710E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4D60F6AE-3BCA-4B76-A03E-A8559CA59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5F33D2DC-D72A-467A-A454-9476EBF7DC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89.7255</c:v>
                </c:pt>
                <c:pt idx="1">
                  <c:v>591.1292</c:v>
                </c:pt>
                <c:pt idx="2">
                  <c:v>569.417</c:v>
                </c:pt>
                <c:pt idx="3">
                  <c:v>592.0093</c:v>
                </c:pt>
                <c:pt idx="4">
                  <c:v>556.0793</c:v>
                </c:pt>
                <c:pt idx="5">
                  <c:v>326.0504</c:v>
                </c:pt>
                <c:pt idx="6">
                  <c:v>385.4487</c:v>
                </c:pt>
                <c:pt idx="7">
                  <c:v>591.6888</c:v>
                </c:pt>
              </c:numCache>
            </c:numRef>
          </c:xVal>
          <c:yVal>
            <c:numRef>
              <c:f>Sheet1!$B$2:$B$9</c:f>
              <c:numCache>
                <c:formatCode>General</c:formatCode>
                <c:ptCount val="8"/>
                <c:pt idx="0">
                  <c:v>0.712</c:v>
                </c:pt>
                <c:pt idx="1">
                  <c:v>1.508</c:v>
                </c:pt>
                <c:pt idx="2">
                  <c:v>1.749</c:v>
                </c:pt>
                <c:pt idx="3">
                  <c:v>2.423</c:v>
                </c:pt>
                <c:pt idx="4">
                  <c:v>1.486</c:v>
                </c:pt>
                <c:pt idx="5">
                  <c:v>0.859</c:v>
                </c:pt>
                <c:pt idx="6">
                  <c:v>1.347</c:v>
                </c:pt>
                <c:pt idx="7">
                  <c:v>2.2</c:v>
                </c:pt>
              </c:numCache>
            </c:numRef>
          </c:yVal>
          <c:bubbleSize>
            <c:numRef>
              <c:f>Sheet1!$C$2:$C$9</c:f>
              <c:numCache>
                <c:formatCode>General</c:formatCode>
                <c:ptCount val="8"/>
                <c:pt idx="0">
                  <c:v>27304308</c:v>
                </c:pt>
                <c:pt idx="1">
                  <c:v>25478849</c:v>
                </c:pt>
                <c:pt idx="2">
                  <c:v>9237082</c:v>
                </c:pt>
                <c:pt idx="3">
                  <c:v>7009390</c:v>
                </c:pt>
                <c:pt idx="4">
                  <c:v>3777447</c:v>
                </c:pt>
                <c:pt idx="5">
                  <c:v>3575795</c:v>
                </c:pt>
                <c:pt idx="6">
                  <c:v>2497322</c:v>
                </c:pt>
                <c:pt idx="7">
                  <c:v>184074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0.0"/>
          <c:min val="232.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379D3B02-9BA0-4D96-B7ED-128887AA54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9D0E4920-EC62-43C9-A00B-8BD0452051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787452A7-4316-44FA-A572-5E4D5A2EB1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DF94BB4A-874A-42AE-99B5-D177D841D2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550B8C3D-78A1-4258-9393-1D0C93BB80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BCC6E35A-8BDE-4460-BBE9-138C79D959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2CF0E23D-6E09-42BD-A35F-8C32F3D674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418194AF-891C-42D3-96F7-A53DBC1463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45.5389</c:v>
                </c:pt>
                <c:pt idx="1">
                  <c:v>176.9993</c:v>
                </c:pt>
                <c:pt idx="2">
                  <c:v>75.2275</c:v>
                </c:pt>
              </c:numCache>
            </c:numRef>
          </c:xVal>
          <c:yVal>
            <c:numRef>
              <c:f>Sheet1!$B$2:$B$4</c:f>
              <c:numCache>
                <c:formatCode>General</c:formatCode>
                <c:ptCount val="3"/>
                <c:pt idx="0">
                  <c:v>1.145</c:v>
                </c:pt>
                <c:pt idx="1">
                  <c:v>1.121</c:v>
                </c:pt>
                <c:pt idx="2">
                  <c:v>0.58</c:v>
                </c:pt>
              </c:numCache>
            </c:numRef>
          </c:yVal>
          <c:bubbleSize>
            <c:numRef>
              <c:f>Sheet1!$C$2:$C$4</c:f>
              <c:numCache>
                <c:formatCode>General</c:formatCode>
                <c:ptCount val="3"/>
                <c:pt idx="0">
                  <c:v>13487454</c:v>
                </c:pt>
                <c:pt idx="1">
                  <c:v>11637350</c:v>
                </c:pt>
                <c:pt idx="2">
                  <c:v>371021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5.0"/>
          <c:min val="60.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6FF685A-2C5D-4E82-B2AB-FF4A0718AA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9C9E94B-A0F1-492C-8115-CF435A38EF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F70F7D7-FE98-4CA0-B61A-C60C11491D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2488C16-3BF1-42E2-B24C-5815EBBEB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7C62422-C03E-4C4E-B7DC-BAFC2F9857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85D1659-BF08-47D8-A1D2-7E90A889ED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A1C8ADE-706B-499B-B757-3C3377238A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502F5FC-9570-4337-9BC9-A54D34BFA2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4.6602</c:v>
                </c:pt>
                <c:pt idx="1">
                  <c:v>198.5987</c:v>
                </c:pt>
                <c:pt idx="2">
                  <c:v>192.9129</c:v>
                </c:pt>
                <c:pt idx="3">
                  <c:v>87.2158</c:v>
                </c:pt>
                <c:pt idx="4">
                  <c:v>74.168</c:v>
                </c:pt>
                <c:pt idx="5">
                  <c:v>220.0135</c:v>
                </c:pt>
              </c:numCache>
            </c:numRef>
          </c:xVal>
          <c:yVal>
            <c:numRef>
              <c:f>Sheet1!$B$2:$B$7</c:f>
              <c:numCache>
                <c:formatCode>General</c:formatCode>
                <c:ptCount val="6"/>
                <c:pt idx="0">
                  <c:v>1.275</c:v>
                </c:pt>
                <c:pt idx="1">
                  <c:v>0.855</c:v>
                </c:pt>
                <c:pt idx="2">
                  <c:v>0.859</c:v>
                </c:pt>
                <c:pt idx="3">
                  <c:v>0.477</c:v>
                </c:pt>
                <c:pt idx="4">
                  <c:v>0.446</c:v>
                </c:pt>
                <c:pt idx="5">
                  <c:v>3.078</c:v>
                </c:pt>
              </c:numCache>
            </c:numRef>
          </c:yVal>
          <c:bubbleSize>
            <c:numRef>
              <c:f>Sheet1!$C$2:$C$7</c:f>
              <c:numCache>
                <c:formatCode>General</c:formatCode>
                <c:ptCount val="6"/>
                <c:pt idx="0">
                  <c:v>76877378</c:v>
                </c:pt>
                <c:pt idx="1">
                  <c:v>26121485</c:v>
                </c:pt>
                <c:pt idx="2">
                  <c:v>20488126</c:v>
                </c:pt>
                <c:pt idx="3">
                  <c:v>7108348</c:v>
                </c:pt>
                <c:pt idx="4">
                  <c:v>3174094</c:v>
                </c:pt>
                <c:pt idx="5">
                  <c:v>191719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4.0"/>
          <c:min val="59.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5A7C0131-6158-4DC9-AA05-B28FBFFB76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8227E835-C344-41FB-BF19-44271CE26A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3DEDF5A8-DEDA-4417-8071-2CB0D39D20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12CBC5AE-BF4F-4AF3-841A-F2E8D2D40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2665DB4C-DB8C-4AAA-9DCA-C42270CE4E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EB2DF1C2-FFF0-4FDF-AD82-9874D98F9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50229A3F-09FD-48F6-A7CF-5C0D9B5572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A9B379EB-F465-43F1-8D45-C5EECFFC7D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52.8728</c:v>
                </c:pt>
                <c:pt idx="1">
                  <c:v>544.9942</c:v>
                </c:pt>
                <c:pt idx="2">
                  <c:v>292.4042</c:v>
                </c:pt>
                <c:pt idx="3">
                  <c:v>574.2405</c:v>
                </c:pt>
                <c:pt idx="4">
                  <c:v>521.0654</c:v>
                </c:pt>
                <c:pt idx="5">
                  <c:v>613.4706</c:v>
                </c:pt>
                <c:pt idx="6">
                  <c:v>493.8476</c:v>
                </c:pt>
                <c:pt idx="7">
                  <c:v>402.1162</c:v>
                </c:pt>
              </c:numCache>
            </c:numRef>
          </c:xVal>
          <c:yVal>
            <c:numRef>
              <c:f>Sheet1!$B$2:$B$9</c:f>
              <c:numCache>
                <c:formatCode>General</c:formatCode>
                <c:ptCount val="8"/>
                <c:pt idx="0">
                  <c:v>1.211</c:v>
                </c:pt>
                <c:pt idx="1">
                  <c:v>1.61</c:v>
                </c:pt>
                <c:pt idx="2">
                  <c:v>0.595</c:v>
                </c:pt>
                <c:pt idx="3">
                  <c:v>1.413</c:v>
                </c:pt>
                <c:pt idx="4">
                  <c:v>1.158</c:v>
                </c:pt>
                <c:pt idx="5">
                  <c:v>0.875</c:v>
                </c:pt>
                <c:pt idx="6">
                  <c:v>1.44</c:v>
                </c:pt>
                <c:pt idx="7">
                  <c:v>1.133</c:v>
                </c:pt>
              </c:numCache>
            </c:numRef>
          </c:yVal>
          <c:bubbleSize>
            <c:numRef>
              <c:f>Sheet1!$C$2:$C$9</c:f>
              <c:numCache>
                <c:formatCode>General</c:formatCode>
                <c:ptCount val="8"/>
                <c:pt idx="0">
                  <c:v>38563986</c:v>
                </c:pt>
                <c:pt idx="1">
                  <c:v>20599144</c:v>
                </c:pt>
                <c:pt idx="2">
                  <c:v>19050720</c:v>
                </c:pt>
                <c:pt idx="3">
                  <c:v>12851502</c:v>
                </c:pt>
                <c:pt idx="4">
                  <c:v>10428081</c:v>
                </c:pt>
                <c:pt idx="5">
                  <c:v>4896109</c:v>
                </c:pt>
                <c:pt idx="6">
                  <c:v>4599203</c:v>
                </c:pt>
                <c:pt idx="7">
                  <c:v>2910115</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6.0"/>
          <c:min val="234.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48CDA801-3B73-4C73-B6BD-9FE43999C5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34BF7D4D-B7AA-4270-8C4F-7023B1B4E4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CA12D7E8-80B5-4284-AC1C-3941EE2CAA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5C66A40D-4985-437D-A79C-6FA6F99B49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9EB0DF2F-5C57-4817-931F-003F59D036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F0E58173-FE2C-4D22-9BDB-F75A1C424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A45E2998-1A92-4CC1-BE06-2A753F961E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4BA9E60E-CB61-4245-917B-84CA863DBA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27.5381</c:v>
                </c:pt>
                <c:pt idx="1">
                  <c:v>181.9762</c:v>
                </c:pt>
                <c:pt idx="2">
                  <c:v>73.2502</c:v>
                </c:pt>
              </c:numCache>
            </c:numRef>
          </c:xVal>
          <c:yVal>
            <c:numRef>
              <c:f>Sheet1!$B$2:$B$4</c:f>
              <c:numCache>
                <c:formatCode>General</c:formatCode>
                <c:ptCount val="3"/>
                <c:pt idx="0">
                  <c:v>1.114</c:v>
                </c:pt>
                <c:pt idx="1">
                  <c:v>1.102</c:v>
                </c:pt>
                <c:pt idx="2">
                  <c:v>0.627</c:v>
                </c:pt>
              </c:numCache>
            </c:numRef>
          </c:yVal>
          <c:bubbleSize>
            <c:numRef>
              <c:f>Sheet1!$C$2:$C$4</c:f>
              <c:numCache>
                <c:formatCode>General</c:formatCode>
                <c:ptCount val="3"/>
                <c:pt idx="0">
                  <c:v>10876777</c:v>
                </c:pt>
                <c:pt idx="1">
                  <c:v>6204479</c:v>
                </c:pt>
                <c:pt idx="2">
                  <c:v>237389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3.0"/>
          <c:min val="59.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DD54442-5FC3-4654-A6F1-0939A79C3C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A873F24-DEF3-42C4-B03D-8015857322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7CC3CD3-CD00-491B-B047-BF5FA39FAD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056A70B-F7DE-4CFF-905B-058A785B23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0798906-AD58-4EE7-B166-3378B2E0D9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4D09B61-E011-42D4-B124-800D2201F0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F8B786D-BC00-4304-81C7-9D392EEAA6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772250D-D60F-4731-A1A8-F38A3AC506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2.1934</c:v>
                </c:pt>
                <c:pt idx="1">
                  <c:v>221.7888</c:v>
                </c:pt>
                <c:pt idx="2">
                  <c:v>222.1692</c:v>
                </c:pt>
                <c:pt idx="3">
                  <c:v>91.4677</c:v>
                </c:pt>
                <c:pt idx="4">
                  <c:v>73.7171</c:v>
                </c:pt>
                <c:pt idx="5">
                  <c:v>156.0933</c:v>
                </c:pt>
              </c:numCache>
            </c:numRef>
          </c:xVal>
          <c:yVal>
            <c:numRef>
              <c:f>Sheet1!$B$2:$B$7</c:f>
              <c:numCache>
                <c:formatCode>General</c:formatCode>
                <c:ptCount val="6"/>
                <c:pt idx="0">
                  <c:v>1.186</c:v>
                </c:pt>
                <c:pt idx="1">
                  <c:v>0.909</c:v>
                </c:pt>
                <c:pt idx="2">
                  <c:v>0.923</c:v>
                </c:pt>
                <c:pt idx="3">
                  <c:v>0.496</c:v>
                </c:pt>
                <c:pt idx="4">
                  <c:v>0.469</c:v>
                </c:pt>
                <c:pt idx="5">
                  <c:v>2.363</c:v>
                </c:pt>
              </c:numCache>
            </c:numRef>
          </c:yVal>
          <c:bubbleSize>
            <c:numRef>
              <c:f>Sheet1!$C$2:$C$7</c:f>
              <c:numCache>
                <c:formatCode>General</c:formatCode>
                <c:ptCount val="6"/>
                <c:pt idx="0">
                  <c:v>106919192</c:v>
                </c:pt>
                <c:pt idx="1">
                  <c:v>35460921</c:v>
                </c:pt>
                <c:pt idx="2">
                  <c:v>19002574</c:v>
                </c:pt>
                <c:pt idx="3">
                  <c:v>7573435</c:v>
                </c:pt>
                <c:pt idx="4">
                  <c:v>3202788</c:v>
                </c:pt>
                <c:pt idx="5">
                  <c:v>223447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1.0"/>
          <c:min val="59.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BF71B686-5499-4C53-91EB-D17CDB10E7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3E587D9B-FB4A-47C7-AEB8-C4283F6CC9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6610FD74-83D8-4C46-A1B5-2095867CD2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B412B5A1-45FE-4358-B7F8-CF02BEBB8B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70C73615-617C-4407-B3C3-6348E1D8AE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3FC541FF-BF53-456D-A782-E82E3146EC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E5298DD3-F224-47E3-8F33-8B43366257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0C3143C4-8B2D-4A43-AF48-D02FD25A78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80.8538</c:v>
                </c:pt>
                <c:pt idx="1">
                  <c:v>605.0969</c:v>
                </c:pt>
                <c:pt idx="2">
                  <c:v>520.9909</c:v>
                </c:pt>
                <c:pt idx="3">
                  <c:v>300.5639</c:v>
                </c:pt>
                <c:pt idx="4">
                  <c:v>588.9122</c:v>
                </c:pt>
                <c:pt idx="5">
                  <c:v>553.514</c:v>
                </c:pt>
                <c:pt idx="6">
                  <c:v>386.5265</c:v>
                </c:pt>
              </c:numCache>
            </c:numRef>
          </c:xVal>
          <c:yVal>
            <c:numRef>
              <c:f>Sheet1!$B$2:$B$8</c:f>
              <c:numCache>
                <c:formatCode>General</c:formatCode>
                <c:ptCount val="7"/>
                <c:pt idx="0">
                  <c:v>0.886</c:v>
                </c:pt>
                <c:pt idx="1">
                  <c:v>2.142</c:v>
                </c:pt>
                <c:pt idx="2">
                  <c:v>2.415</c:v>
                </c:pt>
                <c:pt idx="3">
                  <c:v>1.099</c:v>
                </c:pt>
                <c:pt idx="4">
                  <c:v>2.056</c:v>
                </c:pt>
                <c:pt idx="5">
                  <c:v>11.252</c:v>
                </c:pt>
                <c:pt idx="6">
                  <c:v>4.623</c:v>
                </c:pt>
              </c:numCache>
            </c:numRef>
          </c:yVal>
          <c:bubbleSize>
            <c:numRef>
              <c:f>Sheet1!$C$2:$C$8</c:f>
              <c:numCache>
                <c:formatCode>General</c:formatCode>
                <c:ptCount val="7"/>
                <c:pt idx="0">
                  <c:v>12857206</c:v>
                </c:pt>
                <c:pt idx="1">
                  <c:v>3786091</c:v>
                </c:pt>
                <c:pt idx="2">
                  <c:v>2173053</c:v>
                </c:pt>
                <c:pt idx="3">
                  <c:v>1656708</c:v>
                </c:pt>
                <c:pt idx="4">
                  <c:v>1072998</c:v>
                </c:pt>
                <c:pt idx="5">
                  <c:v>792632</c:v>
                </c:pt>
                <c:pt idx="6">
                  <c:v>44411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6.0"/>
          <c:min val="225.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D7254E17-49F2-4C80-B502-7F1246CD16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B7DF3B0E-6A65-42B0-95C2-3F448DD04B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412CA454-92D0-4DA6-9DFA-DA76D27C71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149B1E99-487E-423B-A6E6-C3E9E541B5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7FE1BE75-7515-461E-B42D-E66711704E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DEFE2DDD-C340-4298-86A4-EF942ED61C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80E451E5-69F3-4817-BE82-BB83B998A0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6BEABEA6-AD6D-4DFC-90E3-2AF7D77F5C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41.6265</c:v>
                </c:pt>
                <c:pt idx="1">
                  <c:v>220.4366</c:v>
                </c:pt>
                <c:pt idx="2">
                  <c:v>77.321</c:v>
                </c:pt>
                <c:pt idx="3">
                  <c:v>333.8077</c:v>
                </c:pt>
              </c:numCache>
            </c:numRef>
          </c:xVal>
          <c:yVal>
            <c:numRef>
              <c:f>Sheet1!$B$2:$B$5</c:f>
              <c:numCache>
                <c:formatCode>General</c:formatCode>
                <c:ptCount val="4"/>
                <c:pt idx="0">
                  <c:v>1.108</c:v>
                </c:pt>
                <c:pt idx="1">
                  <c:v>1.043</c:v>
                </c:pt>
                <c:pt idx="2">
                  <c:v>0.61</c:v>
                </c:pt>
                <c:pt idx="3">
                  <c:v>1.715</c:v>
                </c:pt>
              </c:numCache>
            </c:numRef>
          </c:yVal>
          <c:bubbleSize>
            <c:numRef>
              <c:f>Sheet1!$C$2:$C$5</c:f>
              <c:numCache>
                <c:formatCode>General</c:formatCode>
                <c:ptCount val="4"/>
                <c:pt idx="0">
                  <c:v>14829826</c:v>
                </c:pt>
                <c:pt idx="1">
                  <c:v>10425110</c:v>
                </c:pt>
                <c:pt idx="2">
                  <c:v>2580898</c:v>
                </c:pt>
                <c:pt idx="3">
                  <c:v>60919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01.0"/>
          <c:min val="62.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347DE47-3070-49ED-9859-CD77059FFD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FD1B3A9-C48B-400E-BB54-4D38BA83FC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261A1BF-EE79-442C-8D3B-45060373DF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569AFEC-315A-46DA-84CE-92A32231A2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4460773-B7D4-4ACB-BE02-8CC9D7101C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A0DD82A-9425-4B69-8D35-9FCA925F02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D199A94-1518-4399-AEA0-5C7DD33849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6F38746-E352-493C-989F-87C144480F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1.6365</c:v>
                </c:pt>
                <c:pt idx="1">
                  <c:v>213.0857</c:v>
                </c:pt>
                <c:pt idx="2">
                  <c:v>219.7494</c:v>
                </c:pt>
                <c:pt idx="3">
                  <c:v>89.7135</c:v>
                </c:pt>
                <c:pt idx="4">
                  <c:v>74.4418</c:v>
                </c:pt>
                <c:pt idx="5">
                  <c:v>214.8602</c:v>
                </c:pt>
              </c:numCache>
            </c:numRef>
          </c:xVal>
          <c:yVal>
            <c:numRef>
              <c:f>Sheet1!$B$2:$B$7</c:f>
              <c:numCache>
                <c:formatCode>General</c:formatCode>
                <c:ptCount val="6"/>
                <c:pt idx="0">
                  <c:v>1.24</c:v>
                </c:pt>
                <c:pt idx="1">
                  <c:v>0.906</c:v>
                </c:pt>
                <c:pt idx="2">
                  <c:v>0.881</c:v>
                </c:pt>
                <c:pt idx="3">
                  <c:v>0.53</c:v>
                </c:pt>
                <c:pt idx="4">
                  <c:v>0.468</c:v>
                </c:pt>
                <c:pt idx="5">
                  <c:v>3.187</c:v>
                </c:pt>
              </c:numCache>
            </c:numRef>
          </c:yVal>
          <c:bubbleSize>
            <c:numRef>
              <c:f>Sheet1!$C$2:$C$7</c:f>
              <c:numCache>
                <c:formatCode>General</c:formatCode>
                <c:ptCount val="6"/>
                <c:pt idx="0">
                  <c:v>88331422</c:v>
                </c:pt>
                <c:pt idx="1">
                  <c:v>31006308</c:v>
                </c:pt>
                <c:pt idx="2">
                  <c:v>19425192</c:v>
                </c:pt>
                <c:pt idx="3">
                  <c:v>9096325</c:v>
                </c:pt>
                <c:pt idx="4">
                  <c:v>4963182</c:v>
                </c:pt>
                <c:pt idx="5">
                  <c:v>184564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0.0"/>
          <c:min val="60.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728620-FE7B-40F2-AE48-304E4AE1AE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DC20386-4C05-4363-952C-769535465E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9EFE0E-DF4E-4863-8065-0208D9B764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98F1767-EA20-40AC-A59D-9A0C88FFE0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6AAA20F-659C-4463-B28E-93E2462642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43CEB7F-9FB2-4D36-BD05-B9AB2FF20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BCD9D2D-26B7-48C3-99FF-C33FD7F48A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55FF09A-9C2D-4DFA-820F-2FE456D6F4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0.4718</c:v>
                </c:pt>
                <c:pt idx="1">
                  <c:v>218.8167</c:v>
                </c:pt>
                <c:pt idx="2">
                  <c:v>240.5857</c:v>
                </c:pt>
                <c:pt idx="3">
                  <c:v>294.8242</c:v>
                </c:pt>
                <c:pt idx="4">
                  <c:v>600.3644</c:v>
                </c:pt>
                <c:pt idx="5">
                  <c:v>80.7539</c:v>
                </c:pt>
                <c:pt idx="6">
                  <c:v>556.3718</c:v>
                </c:pt>
                <c:pt idx="7">
                  <c:v>222.3146</c:v>
                </c:pt>
              </c:numCache>
            </c:numRef>
          </c:xVal>
          <c:yVal>
            <c:numRef>
              <c:f>Sheet1!$B$2:$B$9</c:f>
              <c:numCache>
                <c:formatCode>General</c:formatCode>
                <c:ptCount val="8"/>
                <c:pt idx="0">
                  <c:v>1.101</c:v>
                </c:pt>
                <c:pt idx="1">
                  <c:v>0.801</c:v>
                </c:pt>
                <c:pt idx="2">
                  <c:v>0.804</c:v>
                </c:pt>
                <c:pt idx="3">
                  <c:v>2.207</c:v>
                </c:pt>
                <c:pt idx="4">
                  <c:v>4.558</c:v>
                </c:pt>
                <c:pt idx="5">
                  <c:v>0.434</c:v>
                </c:pt>
                <c:pt idx="6">
                  <c:v>8.082</c:v>
                </c:pt>
                <c:pt idx="7">
                  <c:v>2.844</c:v>
                </c:pt>
              </c:numCache>
            </c:numRef>
          </c:yVal>
          <c:bubbleSize>
            <c:numRef>
              <c:f>Sheet1!$C$2:$C$9</c:f>
              <c:numCache>
                <c:formatCode>General</c:formatCode>
                <c:ptCount val="8"/>
                <c:pt idx="0">
                  <c:v>70722047</c:v>
                </c:pt>
                <c:pt idx="1">
                  <c:v>34560135</c:v>
                </c:pt>
                <c:pt idx="2">
                  <c:v>31515279</c:v>
                </c:pt>
                <c:pt idx="3">
                  <c:v>9333249</c:v>
                </c:pt>
                <c:pt idx="4">
                  <c:v>5824135</c:v>
                </c:pt>
                <c:pt idx="5">
                  <c:v>5525749</c:v>
                </c:pt>
                <c:pt idx="6">
                  <c:v>3208596</c:v>
                </c:pt>
                <c:pt idx="7">
                  <c:v>14926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0.0"/>
          <c:min val="65.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2F799F93-0587-487F-82D4-FB7A8A360D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9059F590-3B36-472D-8F6B-F276DCCFB4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E9DB279F-AECF-4887-9508-7086C93FD4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924CD743-CEC0-46A7-B77F-5B0D2D416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5C94F937-B023-42D8-BEB1-A7B22A5013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A796A3E1-893D-45E3-8A01-BD899B5AA9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64F790E2-609C-4C7E-ABBC-CED17EC4F0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F30CE0BC-0D7E-4039-9E55-6AE9169215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90.5508</c:v>
                </c:pt>
                <c:pt idx="1">
                  <c:v>289.0043</c:v>
                </c:pt>
                <c:pt idx="2">
                  <c:v>592.2799</c:v>
                </c:pt>
                <c:pt idx="3">
                  <c:v>586.8087</c:v>
                </c:pt>
                <c:pt idx="4">
                  <c:v>555.4856</c:v>
                </c:pt>
                <c:pt idx="5">
                  <c:v>322.9757</c:v>
                </c:pt>
                <c:pt idx="6">
                  <c:v>599.9994</c:v>
                </c:pt>
                <c:pt idx="7">
                  <c:v>692.619</c:v>
                </c:pt>
              </c:numCache>
            </c:numRef>
          </c:xVal>
          <c:yVal>
            <c:numRef>
              <c:f>Sheet1!$B$2:$B$9</c:f>
              <c:numCache>
                <c:formatCode>General</c:formatCode>
                <c:ptCount val="8"/>
                <c:pt idx="0">
                  <c:v>1.346</c:v>
                </c:pt>
                <c:pt idx="1">
                  <c:v>0.67</c:v>
                </c:pt>
                <c:pt idx="2">
                  <c:v>1.717</c:v>
                </c:pt>
                <c:pt idx="3">
                  <c:v>2.284</c:v>
                </c:pt>
                <c:pt idx="4">
                  <c:v>1.489</c:v>
                </c:pt>
                <c:pt idx="5">
                  <c:v>0.815</c:v>
                </c:pt>
                <c:pt idx="6">
                  <c:v>2.167</c:v>
                </c:pt>
                <c:pt idx="7">
                  <c:v>1.334</c:v>
                </c:pt>
              </c:numCache>
            </c:numRef>
          </c:yVal>
          <c:bubbleSize>
            <c:numRef>
              <c:f>Sheet1!$C$2:$C$9</c:f>
              <c:numCache>
                <c:formatCode>General</c:formatCode>
                <c:ptCount val="8"/>
                <c:pt idx="0">
                  <c:v>17830499</c:v>
                </c:pt>
                <c:pt idx="1">
                  <c:v>15832523</c:v>
                </c:pt>
                <c:pt idx="2">
                  <c:v>6878146</c:v>
                </c:pt>
                <c:pt idx="3">
                  <c:v>6449028</c:v>
                </c:pt>
                <c:pt idx="4">
                  <c:v>3533444</c:v>
                </c:pt>
                <c:pt idx="5">
                  <c:v>2700077</c:v>
                </c:pt>
                <c:pt idx="6">
                  <c:v>1855198</c:v>
                </c:pt>
                <c:pt idx="7">
                  <c:v>168167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1.0"/>
          <c:min val="23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2DF2D3A5-73A5-4E1E-B183-188A8FE3B5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E672CFB5-180C-42B1-83C0-7C9D1F3F29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55747E44-C553-4602-A51A-C7AFAE421A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F4EF19DD-9CA3-48B9-90B7-3A91ACD10E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45D9FDCD-058A-402D-BED2-5292B1DDF8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AB31FA93-CF52-44B1-BAEE-F916C09F4B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EAC328E9-11AE-43C4-9633-12CCAFE4D7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ECAE2C92-65C7-475B-8683-8C739173F0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47.3659</c:v>
                </c:pt>
                <c:pt idx="1">
                  <c:v>202.6541</c:v>
                </c:pt>
                <c:pt idx="2">
                  <c:v>74.3763</c:v>
                </c:pt>
              </c:numCache>
            </c:numRef>
          </c:xVal>
          <c:yVal>
            <c:numRef>
              <c:f>Sheet1!$B$2:$B$4</c:f>
              <c:numCache>
                <c:formatCode>General</c:formatCode>
                <c:ptCount val="3"/>
                <c:pt idx="0">
                  <c:v>1.144</c:v>
                </c:pt>
                <c:pt idx="1">
                  <c:v>1.112</c:v>
                </c:pt>
                <c:pt idx="2">
                  <c:v>0.63</c:v>
                </c:pt>
              </c:numCache>
            </c:numRef>
          </c:yVal>
          <c:bubbleSize>
            <c:numRef>
              <c:f>Sheet1!$C$2:$C$4</c:f>
              <c:numCache>
                <c:formatCode>General</c:formatCode>
                <c:ptCount val="3"/>
                <c:pt idx="0">
                  <c:v>11537145</c:v>
                </c:pt>
                <c:pt idx="1">
                  <c:v>7694775</c:v>
                </c:pt>
                <c:pt idx="2">
                  <c:v>336582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7.0"/>
          <c:min val="60.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305D440-3E4B-42D2-9C10-37F3DB6D56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CE919BC-A11E-4A85-B2DB-0C6117315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A150A8F-AFCD-43D6-B480-DF600746E9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EA4B697-5F51-4CFD-8E05-142599BEDA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80E7E3F-BA5F-4C97-A8ED-6AA2E3AEC7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B8BD64B-BC3D-45EA-8A83-5569C9C0D7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A6769B7-0C42-43F0-929C-974903A16B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F9538D6-1312-4815-94DC-475A1ABBAD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6.5461</c:v>
                </c:pt>
                <c:pt idx="1">
                  <c:v>218.1221</c:v>
                </c:pt>
                <c:pt idx="2">
                  <c:v>231.688</c:v>
                </c:pt>
                <c:pt idx="3">
                  <c:v>89.6171</c:v>
                </c:pt>
                <c:pt idx="4">
                  <c:v>74.8204</c:v>
                </c:pt>
                <c:pt idx="5">
                  <c:v>221.1781</c:v>
                </c:pt>
              </c:numCache>
            </c:numRef>
          </c:xVal>
          <c:yVal>
            <c:numRef>
              <c:f>Sheet1!$B$2:$B$7</c:f>
              <c:numCache>
                <c:formatCode>General</c:formatCode>
                <c:ptCount val="6"/>
                <c:pt idx="0">
                  <c:v>1.264</c:v>
                </c:pt>
                <c:pt idx="1">
                  <c:v>0.941</c:v>
                </c:pt>
                <c:pt idx="2">
                  <c:v>0.931</c:v>
                </c:pt>
                <c:pt idx="3">
                  <c:v>0.494</c:v>
                </c:pt>
                <c:pt idx="4">
                  <c:v>0.466</c:v>
                </c:pt>
                <c:pt idx="5">
                  <c:v>3.228</c:v>
                </c:pt>
              </c:numCache>
            </c:numRef>
          </c:yVal>
          <c:bubbleSize>
            <c:numRef>
              <c:f>Sheet1!$C$2:$C$7</c:f>
              <c:numCache>
                <c:formatCode>General</c:formatCode>
                <c:ptCount val="6"/>
                <c:pt idx="0">
                  <c:v>71214845</c:v>
                </c:pt>
                <c:pt idx="1">
                  <c:v>34650228</c:v>
                </c:pt>
                <c:pt idx="2">
                  <c:v>23619901</c:v>
                </c:pt>
                <c:pt idx="3">
                  <c:v>8454656</c:v>
                </c:pt>
                <c:pt idx="4">
                  <c:v>4294539</c:v>
                </c:pt>
                <c:pt idx="5">
                  <c:v>195145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6.0"/>
          <c:min val="60.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54F53D36-1A08-4735-82AD-7385DB9628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B6AE9DD8-4DC9-45E5-A291-4EA14ABFE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E230ECEB-0FE5-4B81-B962-5B69E2F098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32A60E7E-065C-42A2-BD26-D600BE8531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8ADA22AD-3C35-42B7-932A-ED3C137AC9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CA839512-8199-490D-8D40-59D9DF9D2D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036CE511-D206-4D90-A362-D2EDA8A2AD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3BDB00D9-AA45-4EE9-9D48-30B6A8A41D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87.347</c:v>
                </c:pt>
                <c:pt idx="1">
                  <c:v>296.7036</c:v>
                </c:pt>
                <c:pt idx="2">
                  <c:v>577.6143</c:v>
                </c:pt>
                <c:pt idx="3">
                  <c:v>583.7417</c:v>
                </c:pt>
                <c:pt idx="4">
                  <c:v>541.6534</c:v>
                </c:pt>
                <c:pt idx="5">
                  <c:v>569.4195</c:v>
                </c:pt>
                <c:pt idx="6">
                  <c:v>328.0126</c:v>
                </c:pt>
                <c:pt idx="7">
                  <c:v>675.122</c:v>
                </c:pt>
              </c:numCache>
            </c:numRef>
          </c:xVal>
          <c:yVal>
            <c:numRef>
              <c:f>Sheet1!$B$2:$B$9</c:f>
              <c:numCache>
                <c:formatCode>General</c:formatCode>
                <c:ptCount val="8"/>
                <c:pt idx="0">
                  <c:v>1.319</c:v>
                </c:pt>
                <c:pt idx="1">
                  <c:v>0.721</c:v>
                </c:pt>
                <c:pt idx="2">
                  <c:v>2.123</c:v>
                </c:pt>
                <c:pt idx="3">
                  <c:v>1.653</c:v>
                </c:pt>
                <c:pt idx="4">
                  <c:v>1.497</c:v>
                </c:pt>
                <c:pt idx="5">
                  <c:v>1.956</c:v>
                </c:pt>
                <c:pt idx="6">
                  <c:v>0.87</c:v>
                </c:pt>
                <c:pt idx="7">
                  <c:v>1.203</c:v>
                </c:pt>
              </c:numCache>
            </c:numRef>
          </c:yVal>
          <c:bubbleSize>
            <c:numRef>
              <c:f>Sheet1!$C$2:$C$9</c:f>
              <c:numCache>
                <c:formatCode>General</c:formatCode>
                <c:ptCount val="8"/>
                <c:pt idx="0">
                  <c:v>16648350</c:v>
                </c:pt>
                <c:pt idx="1">
                  <c:v>15085897</c:v>
                </c:pt>
                <c:pt idx="2">
                  <c:v>6503359</c:v>
                </c:pt>
                <c:pt idx="3">
                  <c:v>5453315</c:v>
                </c:pt>
                <c:pt idx="4">
                  <c:v>3844114</c:v>
                </c:pt>
                <c:pt idx="5">
                  <c:v>2465017</c:v>
                </c:pt>
                <c:pt idx="6">
                  <c:v>1769628</c:v>
                </c:pt>
                <c:pt idx="7">
                  <c:v>1732363</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0.0"/>
          <c:min val="237.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2B579087-F31A-4DA2-A00E-892831163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ED8D4086-EC38-40FC-926A-F5FCD35BFA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989EDF2C-BA47-45CC-82EF-47F106E556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03D73931-C3A2-4D43-B36C-FFDAE6F352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9A4779CF-1795-47B6-A915-F14E0E2C37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B7AE8B5B-1EEA-4A29-A90C-52A91B50AD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E78DCAC3-6A46-431B-9012-666FC0A94A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A164993F-7654-4F83-A18B-0F0C649FA2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62.4537</c:v>
                </c:pt>
                <c:pt idx="1">
                  <c:v>211.6416</c:v>
                </c:pt>
                <c:pt idx="2">
                  <c:v>76.6016</c:v>
                </c:pt>
              </c:numCache>
            </c:numRef>
          </c:xVal>
          <c:yVal>
            <c:numRef>
              <c:f>Sheet1!$B$2:$B$4</c:f>
              <c:numCache>
                <c:formatCode>General</c:formatCode>
                <c:ptCount val="3"/>
                <c:pt idx="0">
                  <c:v>1.148</c:v>
                </c:pt>
                <c:pt idx="1">
                  <c:v>1.065</c:v>
                </c:pt>
                <c:pt idx="2">
                  <c:v>0.573</c:v>
                </c:pt>
              </c:numCache>
            </c:numRef>
          </c:yVal>
          <c:bubbleSize>
            <c:numRef>
              <c:f>Sheet1!$C$2:$C$4</c:f>
              <c:numCache>
                <c:formatCode>General</c:formatCode>
                <c:ptCount val="3"/>
                <c:pt idx="0">
                  <c:v>15635682</c:v>
                </c:pt>
                <c:pt idx="1">
                  <c:v>8965349</c:v>
                </c:pt>
                <c:pt idx="2">
                  <c:v>291124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5.0"/>
          <c:min val="6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9A99D2-A6EB-42C7-B0DB-E256E225B9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5D8394D-3866-4FB8-9AD4-AFC6FFE19C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7E0DFD1-10FB-4299-8573-0ED609940E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C0F4731-06D3-429C-AB4A-2E965D4880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8DFFF15-6ED6-46B4-AA45-F2586BCACF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9498966-C24F-4334-8562-0EA492D49B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A06D902-2422-44DA-9B6D-6BE0BEBF6E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DB2008D-BDC6-4FCE-AC30-E42170C86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2.5107</c:v>
                </c:pt>
                <c:pt idx="1">
                  <c:v>221.8628</c:v>
                </c:pt>
                <c:pt idx="2">
                  <c:v>232.2505</c:v>
                </c:pt>
                <c:pt idx="3">
                  <c:v>85.3912</c:v>
                </c:pt>
                <c:pt idx="4">
                  <c:v>73.0856</c:v>
                </c:pt>
                <c:pt idx="5">
                  <c:v>222.3146</c:v>
                </c:pt>
              </c:numCache>
            </c:numRef>
          </c:xVal>
          <c:yVal>
            <c:numRef>
              <c:f>Sheet1!$B$2:$B$7</c:f>
              <c:numCache>
                <c:formatCode>General</c:formatCode>
                <c:ptCount val="6"/>
                <c:pt idx="0">
                  <c:v>1.19</c:v>
                </c:pt>
                <c:pt idx="1">
                  <c:v>0.883</c:v>
                </c:pt>
                <c:pt idx="2">
                  <c:v>0.899</c:v>
                </c:pt>
                <c:pt idx="3">
                  <c:v>0.472</c:v>
                </c:pt>
                <c:pt idx="4">
                  <c:v>0.426</c:v>
                </c:pt>
                <c:pt idx="5">
                  <c:v>3.007</c:v>
                </c:pt>
              </c:numCache>
            </c:numRef>
          </c:yVal>
          <c:bubbleSize>
            <c:numRef>
              <c:f>Sheet1!$C$2:$C$7</c:f>
              <c:numCache>
                <c:formatCode>General</c:formatCode>
                <c:ptCount val="6"/>
                <c:pt idx="0">
                  <c:v>68815552</c:v>
                </c:pt>
                <c:pt idx="1">
                  <c:v>25554382</c:v>
                </c:pt>
                <c:pt idx="2">
                  <c:v>16630064</c:v>
                </c:pt>
                <c:pt idx="3">
                  <c:v>4259142</c:v>
                </c:pt>
                <c:pt idx="4">
                  <c:v>1528440</c:v>
                </c:pt>
                <c:pt idx="5">
                  <c:v>14926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1.0"/>
          <c:min val="58.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8F19B2C9-10EE-46EE-ADBE-247C6F2F7B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3B70A7A2-984D-41E0-BB40-11053AFB02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1D31C011-0811-428B-9124-EEABA211F2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9D0A3CC9-8BC0-4E43-91A1-AF348FB0D4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24C6B122-EAB8-40B6-8530-6A0FD3C997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193CA200-BB39-49D1-BD46-0E01A30645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E68510C6-340D-4799-A0D1-04F66A63B3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10E2949E-8246-464D-8955-23A492F7F6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4.3934</c:v>
                </c:pt>
                <c:pt idx="1">
                  <c:v>600.3644</c:v>
                </c:pt>
                <c:pt idx="2">
                  <c:v>559.7216</c:v>
                </c:pt>
                <c:pt idx="3">
                  <c:v>601.637</c:v>
                </c:pt>
                <c:pt idx="4">
                  <c:v>322.1038</c:v>
                </c:pt>
                <c:pt idx="5">
                  <c:v>564.929</c:v>
                </c:pt>
                <c:pt idx="6">
                  <c:v>725.8896</c:v>
                </c:pt>
                <c:pt idx="7">
                  <c:v>519.033</c:v>
                </c:pt>
              </c:numCache>
            </c:numRef>
          </c:xVal>
          <c:yVal>
            <c:numRef>
              <c:f>Sheet1!$B$2:$B$9</c:f>
              <c:numCache>
                <c:formatCode>General</c:formatCode>
                <c:ptCount val="8"/>
                <c:pt idx="0">
                  <c:v>0.812</c:v>
                </c:pt>
                <c:pt idx="1">
                  <c:v>1.707</c:v>
                </c:pt>
                <c:pt idx="2">
                  <c:v>2.993</c:v>
                </c:pt>
                <c:pt idx="3">
                  <c:v>2.229</c:v>
                </c:pt>
                <c:pt idx="4">
                  <c:v>1.038</c:v>
                </c:pt>
                <c:pt idx="5">
                  <c:v>2.003</c:v>
                </c:pt>
                <c:pt idx="6">
                  <c:v>1.708</c:v>
                </c:pt>
                <c:pt idx="7">
                  <c:v>2.079</c:v>
                </c:pt>
              </c:numCache>
            </c:numRef>
          </c:yVal>
          <c:bubbleSize>
            <c:numRef>
              <c:f>Sheet1!$C$2:$C$9</c:f>
              <c:numCache>
                <c:formatCode>General</c:formatCode>
                <c:ptCount val="8"/>
                <c:pt idx="0">
                  <c:v>9055836</c:v>
                </c:pt>
                <c:pt idx="1">
                  <c:v>5824135</c:v>
                </c:pt>
                <c:pt idx="2">
                  <c:v>3172502</c:v>
                </c:pt>
                <c:pt idx="3">
                  <c:v>2633967</c:v>
                </c:pt>
                <c:pt idx="4">
                  <c:v>1150877</c:v>
                </c:pt>
                <c:pt idx="5">
                  <c:v>1106131</c:v>
                </c:pt>
                <c:pt idx="6">
                  <c:v>762910</c:v>
                </c:pt>
                <c:pt idx="7">
                  <c:v>6923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71.0"/>
          <c:min val="236.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8EC42E32-CCF6-43C2-826B-EB34FBE980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C83DBE31-444C-4439-8AAF-49E599BD06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6C82A5E1-A85D-4EA0-9285-37BE557FA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5A44CC43-EA78-4942-BEBD-23DF761A29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0AA92E53-14E6-43CD-B899-434C1AE480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3DD0AE8F-90C8-45D5-BCDC-50D1BC5497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84773D51-A00A-47AB-A79C-648DAB8529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BD40EE75-B71E-467B-B0FA-5F7592507E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67.4881</c:v>
                </c:pt>
                <c:pt idx="1">
                  <c:v>208.134</c:v>
                </c:pt>
                <c:pt idx="2">
                  <c:v>68.6597</c:v>
                </c:pt>
              </c:numCache>
            </c:numRef>
          </c:xVal>
          <c:yVal>
            <c:numRef>
              <c:f>Sheet1!$B$2:$B$4</c:f>
              <c:numCache>
                <c:formatCode>General</c:formatCode>
                <c:ptCount val="3"/>
                <c:pt idx="0">
                  <c:v>1.113</c:v>
                </c:pt>
                <c:pt idx="1">
                  <c:v>1.02</c:v>
                </c:pt>
                <c:pt idx="2">
                  <c:v>0.522</c:v>
                </c:pt>
              </c:numCache>
            </c:numRef>
          </c:yVal>
          <c:bubbleSize>
            <c:numRef>
              <c:f>Sheet1!$C$2:$C$4</c:f>
              <c:numCache>
                <c:formatCode>General</c:formatCode>
                <c:ptCount val="3"/>
                <c:pt idx="0">
                  <c:v>13521524</c:v>
                </c:pt>
                <c:pt idx="1">
                  <c:v>6122471</c:v>
                </c:pt>
                <c:pt idx="2">
                  <c:v>124795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1.0"/>
          <c:min val="55.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75EA969-C30B-40AA-AFA3-CC5129A0F5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244EEF0-83B3-41A1-BB94-58A3019054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EC45259-ABB7-4ED4-BFF8-A7B756ECA4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D7E5483-4057-40FC-ABE3-AD95C82458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5A76C23-BBCA-43B4-A1B5-6C33B39C51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275A788-7301-41F1-86C9-B236B399DB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0F3E025-014C-402F-83B1-283CAB366A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9C4F689-920D-4986-8CB8-0EEB0E0F23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8.3179</c:v>
                </c:pt>
                <c:pt idx="1">
                  <c:v>290.3998</c:v>
                </c:pt>
                <c:pt idx="2">
                  <c:v>239.0546</c:v>
                </c:pt>
                <c:pt idx="3">
                  <c:v>239.318</c:v>
                </c:pt>
                <c:pt idx="4">
                  <c:v>84.7851</c:v>
                </c:pt>
                <c:pt idx="5">
                  <c:v>583.2216</c:v>
                </c:pt>
                <c:pt idx="6">
                  <c:v>74.3605</c:v>
                </c:pt>
                <c:pt idx="7">
                  <c:v>608.1459</c:v>
                </c:pt>
              </c:numCache>
            </c:numRef>
          </c:xVal>
          <c:yVal>
            <c:numRef>
              <c:f>Sheet1!$B$2:$B$9</c:f>
              <c:numCache>
                <c:formatCode>General</c:formatCode>
                <c:ptCount val="8"/>
                <c:pt idx="0">
                  <c:v>1.354</c:v>
                </c:pt>
                <c:pt idx="1">
                  <c:v>1.986</c:v>
                </c:pt>
                <c:pt idx="2">
                  <c:v>0.722</c:v>
                </c:pt>
                <c:pt idx="3">
                  <c:v>0.659</c:v>
                </c:pt>
                <c:pt idx="4">
                  <c:v>0.413</c:v>
                </c:pt>
                <c:pt idx="5">
                  <c:v>7.76</c:v>
                </c:pt>
                <c:pt idx="6">
                  <c:v>0.387</c:v>
                </c:pt>
                <c:pt idx="7">
                  <c:v>4.844</c:v>
                </c:pt>
              </c:numCache>
            </c:numRef>
          </c:yVal>
          <c:bubbleSize>
            <c:numRef>
              <c:f>Sheet1!$C$2:$C$9</c:f>
              <c:numCache>
                <c:formatCode>General</c:formatCode>
                <c:ptCount val="8"/>
                <c:pt idx="0">
                  <c:v>220806067</c:v>
                </c:pt>
                <c:pt idx="1">
                  <c:v>99185766</c:v>
                </c:pt>
                <c:pt idx="2">
                  <c:v>75019886</c:v>
                </c:pt>
                <c:pt idx="3">
                  <c:v>66004370</c:v>
                </c:pt>
                <c:pt idx="4">
                  <c:v>61986804</c:v>
                </c:pt>
                <c:pt idx="5">
                  <c:v>54751094</c:v>
                </c:pt>
                <c:pt idx="6">
                  <c:v>23746346</c:v>
                </c:pt>
                <c:pt idx="7">
                  <c:v>1581361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0.0"/>
          <c:min val="59.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71BA03B3-68C4-4664-B211-E7807B0A81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542A5C45-F1BE-4971-8998-6451FB171C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E8C94C0D-CFE4-4054-A145-9E10A5B46A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EFA2FB55-8FD9-4D3C-A4B9-EF56A3AADE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9B7B1132-2E31-4D1F-BE8A-2D713B6B22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2711314D-388F-4B82-AF4E-2C4D1884AD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EC61121D-C570-4604-B34A-E3B10335FA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A6638007-8E1D-49E7-94E0-A170958795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26.2193</c:v>
                </c:pt>
                <c:pt idx="1">
                  <c:v>184.5881</c:v>
                </c:pt>
                <c:pt idx="2">
                  <c:v>153.4755</c:v>
                </c:pt>
                <c:pt idx="3">
                  <c:v>206.3025</c:v>
                </c:pt>
              </c:numCache>
            </c:numRef>
          </c:xVal>
          <c:yVal>
            <c:numRef>
              <c:f>Sheet1!$B$2:$B$5</c:f>
              <c:numCache>
                <c:formatCode>General</c:formatCode>
                <c:ptCount val="4"/>
                <c:pt idx="0">
                  <c:v>0.973</c:v>
                </c:pt>
                <c:pt idx="1">
                  <c:v>0.878</c:v>
                </c:pt>
                <c:pt idx="2">
                  <c:v>0.815</c:v>
                </c:pt>
                <c:pt idx="3">
                  <c:v>2.967</c:v>
                </c:pt>
              </c:numCache>
            </c:numRef>
          </c:yVal>
          <c:bubbleSize>
            <c:numRef>
              <c:f>Sheet1!$C$2:$C$5</c:f>
              <c:numCache>
                <c:formatCode>General</c:formatCode>
                <c:ptCount val="4"/>
                <c:pt idx="0">
                  <c:v>158375035</c:v>
                </c:pt>
                <c:pt idx="1">
                  <c:v>134294871</c:v>
                </c:pt>
                <c:pt idx="2">
                  <c:v>28962983</c:v>
                </c:pt>
                <c:pt idx="3">
                  <c:v>1245902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1.0"/>
          <c:min val="12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176BA15-0645-409E-8E49-D6134FD0D5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CAF7DF7-1948-4867-8C4E-B96A63A1B2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C6759FD-3797-4CC6-890B-BFD18C1D3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1D71447-AA86-4F1A-AB8E-F28C99AFE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E251219-45DF-4927-9E56-0A9BFB1FD8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B8EC943-69AF-43B8-84FC-0825EE7792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AFEDA55-C591-49B2-9A0A-87DBAB19D4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9F1D82C-3AB3-4AEA-B4F2-00F1ECBA88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3.3146</c:v>
                </c:pt>
                <c:pt idx="1">
                  <c:v>209.0821</c:v>
                </c:pt>
                <c:pt idx="2">
                  <c:v>228.2642</c:v>
                </c:pt>
                <c:pt idx="3">
                  <c:v>577.1653</c:v>
                </c:pt>
                <c:pt idx="4">
                  <c:v>291.3579</c:v>
                </c:pt>
                <c:pt idx="5">
                  <c:v>84.7878</c:v>
                </c:pt>
                <c:pt idx="6">
                  <c:v>563.7208</c:v>
                </c:pt>
                <c:pt idx="7">
                  <c:v>206.3025</c:v>
                </c:pt>
              </c:numCache>
            </c:numRef>
          </c:xVal>
          <c:yVal>
            <c:numRef>
              <c:f>Sheet1!$B$2:$B$9</c:f>
              <c:numCache>
                <c:formatCode>General</c:formatCode>
                <c:ptCount val="8"/>
                <c:pt idx="0">
                  <c:v>1.03</c:v>
                </c:pt>
                <c:pt idx="1">
                  <c:v>0.748</c:v>
                </c:pt>
                <c:pt idx="2">
                  <c:v>0.751</c:v>
                </c:pt>
                <c:pt idx="3">
                  <c:v>4.064</c:v>
                </c:pt>
                <c:pt idx="4">
                  <c:v>1.995</c:v>
                </c:pt>
                <c:pt idx="5">
                  <c:v>0.409</c:v>
                </c:pt>
                <c:pt idx="6">
                  <c:v>6.113</c:v>
                </c:pt>
                <c:pt idx="7">
                  <c:v>2.486</c:v>
                </c:pt>
              </c:numCache>
            </c:numRef>
          </c:yVal>
          <c:bubbleSize>
            <c:numRef>
              <c:f>Sheet1!$C$2:$C$9</c:f>
              <c:numCache>
                <c:formatCode>General</c:formatCode>
                <c:ptCount val="8"/>
                <c:pt idx="0">
                  <c:v>523432960</c:v>
                </c:pt>
                <c:pt idx="1">
                  <c:v>246489415</c:v>
                </c:pt>
                <c:pt idx="2">
                  <c:v>205279552</c:v>
                </c:pt>
                <c:pt idx="3">
                  <c:v>108131910</c:v>
                </c:pt>
                <c:pt idx="4">
                  <c:v>101346207</c:v>
                </c:pt>
                <c:pt idx="5">
                  <c:v>61992752</c:v>
                </c:pt>
                <c:pt idx="6">
                  <c:v>44526055</c:v>
                </c:pt>
                <c:pt idx="7">
                  <c:v>1245902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0"/>
          <c:min val="68.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1737D9EA-4267-4316-B72D-517ECA3858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C2C4FFB2-A385-4BD0-9BBE-BF3FC3EA1D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B9C0668E-8A1F-4C2F-8842-ECC45B01FA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6C5AB2B3-2CC9-4E4E-BCE9-163FB4946A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6FA6A19F-D7C3-42C8-9EC2-02F8EC27C7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A9614D95-D8F5-4FAC-A619-57CB1682A3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CAD2D943-D0B6-4AA8-9795-07734B293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0A3CE1A7-498F-4B70-A43F-C016F99CD7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58.0504</c:v>
                </c:pt>
                <c:pt idx="1">
                  <c:v>589.7992</c:v>
                </c:pt>
                <c:pt idx="2">
                  <c:v>552.8798</c:v>
                </c:pt>
                <c:pt idx="3">
                  <c:v>161.5934</c:v>
                </c:pt>
                <c:pt idx="4">
                  <c:v>133.5788</c:v>
                </c:pt>
                <c:pt idx="5">
                  <c:v>539.2774</c:v>
                </c:pt>
                <c:pt idx="6">
                  <c:v>567.2019</c:v>
                </c:pt>
              </c:numCache>
            </c:numRef>
          </c:xVal>
          <c:yVal>
            <c:numRef>
              <c:f>Sheet1!$B$2:$B$8</c:f>
              <c:numCache>
                <c:formatCode>General</c:formatCode>
                <c:ptCount val="7"/>
                <c:pt idx="0">
                  <c:v>1.021</c:v>
                </c:pt>
                <c:pt idx="1">
                  <c:v>1.805</c:v>
                </c:pt>
                <c:pt idx="2">
                  <c:v>8.344</c:v>
                </c:pt>
                <c:pt idx="3">
                  <c:v>0.496</c:v>
                </c:pt>
                <c:pt idx="4">
                  <c:v>0.323</c:v>
                </c:pt>
                <c:pt idx="5">
                  <c:v>8.555</c:v>
                </c:pt>
                <c:pt idx="6">
                  <c:v>52.46</c:v>
                </c:pt>
              </c:numCache>
            </c:numRef>
          </c:yVal>
          <c:bubbleSize>
            <c:numRef>
              <c:f>Sheet1!$C$2:$C$8</c:f>
              <c:numCache>
                <c:formatCode>General</c:formatCode>
                <c:ptCount val="7"/>
                <c:pt idx="0">
                  <c:v>91166125</c:v>
                </c:pt>
                <c:pt idx="1">
                  <c:v>16169345</c:v>
                </c:pt>
                <c:pt idx="2">
                  <c:v>11875859</c:v>
                </c:pt>
                <c:pt idx="3">
                  <c:v>9268512</c:v>
                </c:pt>
                <c:pt idx="4">
                  <c:v>7397860</c:v>
                </c:pt>
                <c:pt idx="5">
                  <c:v>5504944</c:v>
                </c:pt>
                <c:pt idx="6">
                  <c:v>157341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8.0"/>
          <c:min val="107.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B896FF3C-9863-4F27-94C0-12B7E49F2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B5A09A04-1070-4CBB-B280-D17E241840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276C4256-C997-4B31-855F-A20875F7CA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59F6B751-5905-4D04-B1F0-76422C1DF9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9B89D218-4D17-4E2A-B070-104ABE386B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3FCB4348-9AB4-4443-8CA1-5F19744A9B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D58E480C-F8F2-4250-A3CB-69052B6C5B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256AB74F-F8A2-463F-9729-BCA0A2BB96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51.9562</c:v>
                </c:pt>
                <c:pt idx="1">
                  <c:v>580.106</c:v>
                </c:pt>
                <c:pt idx="2">
                  <c:v>243.3535</c:v>
                </c:pt>
                <c:pt idx="3">
                  <c:v>533.7915</c:v>
                </c:pt>
                <c:pt idx="4">
                  <c:v>524.2492</c:v>
                </c:pt>
                <c:pt idx="5">
                  <c:v>369.1292</c:v>
                </c:pt>
                <c:pt idx="6">
                  <c:v>269.4524</c:v>
                </c:pt>
              </c:numCache>
            </c:numRef>
          </c:xVal>
          <c:yVal>
            <c:numRef>
              <c:f>Sheet1!$B$2:$B$8</c:f>
              <c:numCache>
                <c:formatCode>General</c:formatCode>
                <c:ptCount val="7"/>
                <c:pt idx="0">
                  <c:v>1.123</c:v>
                </c:pt>
                <c:pt idx="1">
                  <c:v>1.301</c:v>
                </c:pt>
                <c:pt idx="2">
                  <c:v>0.568</c:v>
                </c:pt>
                <c:pt idx="3">
                  <c:v>1.852</c:v>
                </c:pt>
                <c:pt idx="4">
                  <c:v>1.037</c:v>
                </c:pt>
                <c:pt idx="5">
                  <c:v>1.389</c:v>
                </c:pt>
                <c:pt idx="6">
                  <c:v>0.516</c:v>
                </c:pt>
              </c:numCache>
            </c:numRef>
          </c:yVal>
          <c:bubbleSize>
            <c:numRef>
              <c:f>Sheet1!$C$2:$C$8</c:f>
              <c:numCache>
                <c:formatCode>General</c:formatCode>
                <c:ptCount val="7"/>
                <c:pt idx="0">
                  <c:v>17135479</c:v>
                </c:pt>
                <c:pt idx="1">
                  <c:v>14920906</c:v>
                </c:pt>
                <c:pt idx="2">
                  <c:v>11123445</c:v>
                </c:pt>
                <c:pt idx="3">
                  <c:v>4767826</c:v>
                </c:pt>
                <c:pt idx="4">
                  <c:v>4638557</c:v>
                </c:pt>
                <c:pt idx="5">
                  <c:v>2334373</c:v>
                </c:pt>
                <c:pt idx="6">
                  <c:v>67605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6.0"/>
          <c:min val="195.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AE38BEA-F196-4329-8084-883C04EBAE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8AEEF2-6DB6-41D3-8758-C4637FA2A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C45F4C-FD56-4D4B-9BB1-F2327351AF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8F6C831-7004-457A-BED9-EA5CC2F566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DDCC232-F7F1-4DDE-89A1-D33A1F69AA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ECB9BF4-6C51-4CBD-8F71-A98AFE14D1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2359321-B048-4067-8BC7-D8CE5E934C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46FDA20-5915-4276-84C7-402F12BC7B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7.7157</c:v>
                </c:pt>
                <c:pt idx="1">
                  <c:v>289.7526</c:v>
                </c:pt>
                <c:pt idx="2">
                  <c:v>237.3521</c:v>
                </c:pt>
                <c:pt idx="3">
                  <c:v>241.7923</c:v>
                </c:pt>
                <c:pt idx="4">
                  <c:v>605.1103</c:v>
                </c:pt>
                <c:pt idx="5">
                  <c:v>84.5424</c:v>
                </c:pt>
                <c:pt idx="6">
                  <c:v>74.7126</c:v>
                </c:pt>
                <c:pt idx="7">
                  <c:v>608.3309</c:v>
                </c:pt>
              </c:numCache>
            </c:numRef>
          </c:xVal>
          <c:yVal>
            <c:numRef>
              <c:f>Sheet1!$B$2:$B$9</c:f>
              <c:numCache>
                <c:formatCode>General</c:formatCode>
                <c:ptCount val="8"/>
                <c:pt idx="0">
                  <c:v>1.315</c:v>
                </c:pt>
                <c:pt idx="1">
                  <c:v>1.937</c:v>
                </c:pt>
                <c:pt idx="2">
                  <c:v>0.704</c:v>
                </c:pt>
                <c:pt idx="3">
                  <c:v>0.643</c:v>
                </c:pt>
                <c:pt idx="4">
                  <c:v>7.54</c:v>
                </c:pt>
                <c:pt idx="5">
                  <c:v>0.395</c:v>
                </c:pt>
                <c:pt idx="6">
                  <c:v>0.377</c:v>
                </c:pt>
                <c:pt idx="7">
                  <c:v>4.652</c:v>
                </c:pt>
              </c:numCache>
            </c:numRef>
          </c:yVal>
          <c:bubbleSize>
            <c:numRef>
              <c:f>Sheet1!$C$2:$C$9</c:f>
              <c:numCache>
                <c:formatCode>General</c:formatCode>
                <c:ptCount val="8"/>
                <c:pt idx="0">
                  <c:v>50208653</c:v>
                </c:pt>
                <c:pt idx="1">
                  <c:v>27303679</c:v>
                </c:pt>
                <c:pt idx="2">
                  <c:v>16480779</c:v>
                </c:pt>
                <c:pt idx="3">
                  <c:v>13895559</c:v>
                </c:pt>
                <c:pt idx="4">
                  <c:v>13297903</c:v>
                </c:pt>
                <c:pt idx="5">
                  <c:v>13020373</c:v>
                </c:pt>
                <c:pt idx="6">
                  <c:v>6583303</c:v>
                </c:pt>
                <c:pt idx="7">
                  <c:v>338657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0.0"/>
          <c:min val="60.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328C0C5-37D7-46F1-874F-3194BA297D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6EF4D74-7D48-4F86-8EE1-CA7C4BFF27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554C1FC-5C06-4C56-A704-AAF82BF71E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54C5D7C-46E0-4F32-82CF-6CBEF84050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024F860-9B79-456D-84CC-6BCE56A468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7B615F7-A995-4041-AC7A-CDB31ED86F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87BF87C-8ACA-4C10-89A4-8C5E9C3C56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6C6880F-5E38-44B6-A286-015785E6CD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0.8622</c:v>
                </c:pt>
                <c:pt idx="1">
                  <c:v>557.1028</c:v>
                </c:pt>
                <c:pt idx="2">
                  <c:v>292.4117</c:v>
                </c:pt>
                <c:pt idx="3">
                  <c:v>233.6338</c:v>
                </c:pt>
                <c:pt idx="4">
                  <c:v>83.2411</c:v>
                </c:pt>
                <c:pt idx="5">
                  <c:v>229.7427</c:v>
                </c:pt>
                <c:pt idx="6">
                  <c:v>503.9979</c:v>
                </c:pt>
                <c:pt idx="7">
                  <c:v>610.582</c:v>
                </c:pt>
              </c:numCache>
            </c:numRef>
          </c:xVal>
          <c:yVal>
            <c:numRef>
              <c:f>Sheet1!$B$2:$B$9</c:f>
              <c:numCache>
                <c:formatCode>General</c:formatCode>
                <c:ptCount val="8"/>
                <c:pt idx="0">
                  <c:v>1.138</c:v>
                </c:pt>
                <c:pt idx="1">
                  <c:v>5.613</c:v>
                </c:pt>
                <c:pt idx="2">
                  <c:v>1.616</c:v>
                </c:pt>
                <c:pt idx="3">
                  <c:v>0.504</c:v>
                </c:pt>
                <c:pt idx="4">
                  <c:v>0.323</c:v>
                </c:pt>
                <c:pt idx="5">
                  <c:v>0.569</c:v>
                </c:pt>
                <c:pt idx="6">
                  <c:v>3.534</c:v>
                </c:pt>
                <c:pt idx="7">
                  <c:v>5.607</c:v>
                </c:pt>
              </c:numCache>
            </c:numRef>
          </c:yVal>
          <c:bubbleSize>
            <c:numRef>
              <c:f>Sheet1!$C$2:$C$9</c:f>
              <c:numCache>
                <c:formatCode>General</c:formatCode>
                <c:ptCount val="8"/>
                <c:pt idx="0">
                  <c:v>37755157</c:v>
                </c:pt>
                <c:pt idx="1">
                  <c:v>21833973</c:v>
                </c:pt>
                <c:pt idx="2">
                  <c:v>19050625</c:v>
                </c:pt>
                <c:pt idx="3">
                  <c:v>10213069</c:v>
                </c:pt>
                <c:pt idx="4">
                  <c:v>9481823</c:v>
                </c:pt>
                <c:pt idx="5">
                  <c:v>8687950</c:v>
                </c:pt>
                <c:pt idx="6">
                  <c:v>6103415</c:v>
                </c:pt>
                <c:pt idx="7">
                  <c:v>58121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3.0"/>
          <c:min val="67.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DD44C141-3859-4404-A8CB-A06E333372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81C4B2D6-AAA3-4E7C-A6B4-0F95395A9C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651B8E09-F72C-4734-B696-6DA80E12A4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A0BF18F7-9D89-4C94-B391-0F2D756472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3143AEB8-2BEC-4C09-A923-06D3E5DF97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46A9D0DE-F234-4027-B18E-17B633AB23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EF88791A-E5C6-4632-87AC-D9389A35EC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125D2832-C573-4834-BB78-92BD104B12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76.6296</c:v>
                </c:pt>
                <c:pt idx="1">
                  <c:v>228.4844</c:v>
                </c:pt>
                <c:pt idx="2">
                  <c:v>125.8423</c:v>
                </c:pt>
                <c:pt idx="3">
                  <c:v>220.0135</c:v>
                </c:pt>
                <c:pt idx="4">
                  <c:v>546.3703</c:v>
                </c:pt>
                <c:pt idx="5">
                  <c:v>488.5123</c:v>
                </c:pt>
              </c:numCache>
            </c:numRef>
          </c:xVal>
          <c:yVal>
            <c:numRef>
              <c:f>Sheet1!$B$2:$B$7</c:f>
              <c:numCache>
                <c:formatCode>General</c:formatCode>
                <c:ptCount val="6"/>
                <c:pt idx="0">
                  <c:v>0.843</c:v>
                </c:pt>
                <c:pt idx="1">
                  <c:v>0.954</c:v>
                </c:pt>
                <c:pt idx="2">
                  <c:v>0.825</c:v>
                </c:pt>
                <c:pt idx="3">
                  <c:v>3.102</c:v>
                </c:pt>
                <c:pt idx="4">
                  <c:v>5.073</c:v>
                </c:pt>
                <c:pt idx="5">
                  <c:v>2.99</c:v>
                </c:pt>
              </c:numCache>
            </c:numRef>
          </c:yVal>
          <c:bubbleSize>
            <c:numRef>
              <c:f>Sheet1!$C$2:$C$7</c:f>
              <c:numCache>
                <c:formatCode>General</c:formatCode>
                <c:ptCount val="6"/>
                <c:pt idx="0">
                  <c:v>19872067</c:v>
                </c:pt>
                <c:pt idx="1">
                  <c:v>19481266</c:v>
                </c:pt>
                <c:pt idx="2">
                  <c:v>5647804</c:v>
                </c:pt>
                <c:pt idx="3">
                  <c:v>1917198</c:v>
                </c:pt>
                <c:pt idx="4">
                  <c:v>979642</c:v>
                </c:pt>
                <c:pt idx="5">
                  <c:v>63506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56.0"/>
          <c:min val="10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B6EC2F10-ECDF-45AA-BAFE-5FEFB52CE3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44FD1BEB-9CBC-4C18-B5E9-C23C1A6D94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557B7401-0E0E-4ACB-8E9E-F6D425903C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88BED3F3-84D8-41A3-B200-563BAD6720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1D57F3E7-F71E-4E45-A0D4-8B81FEFC30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E7AA24F4-3E56-4C60-9D8C-9333434BEC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36A89BAE-B2DA-41C1-8080-31B1F711FA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A5BC7F7A-EEA4-46FC-9408-9F90510A0D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1.1869</c:v>
                </c:pt>
                <c:pt idx="1">
                  <c:v>568.3691</c:v>
                </c:pt>
                <c:pt idx="2">
                  <c:v>567.9441</c:v>
                </c:pt>
                <c:pt idx="3">
                  <c:v>524.3506</c:v>
                </c:pt>
                <c:pt idx="4">
                  <c:v>126.7676</c:v>
                </c:pt>
                <c:pt idx="5">
                  <c:v>148.7473</c:v>
                </c:pt>
                <c:pt idx="6">
                  <c:v>484.1768</c:v>
                </c:pt>
                <c:pt idx="7">
                  <c:v>503.7749</c:v>
                </c:pt>
              </c:numCache>
            </c:numRef>
          </c:xVal>
          <c:yVal>
            <c:numRef>
              <c:f>Sheet1!$B$2:$B$9</c:f>
              <c:numCache>
                <c:formatCode>General</c:formatCode>
                <c:ptCount val="8"/>
                <c:pt idx="0">
                  <c:v>0.792</c:v>
                </c:pt>
                <c:pt idx="1">
                  <c:v>1.398</c:v>
                </c:pt>
                <c:pt idx="2">
                  <c:v>6.423</c:v>
                </c:pt>
                <c:pt idx="3">
                  <c:v>6.246</c:v>
                </c:pt>
                <c:pt idx="4">
                  <c:v>0.273</c:v>
                </c:pt>
                <c:pt idx="5">
                  <c:v>0.354</c:v>
                </c:pt>
                <c:pt idx="6">
                  <c:v>17.97</c:v>
                </c:pt>
                <c:pt idx="7">
                  <c:v>3.184</c:v>
                </c:pt>
              </c:numCache>
            </c:numRef>
          </c:yVal>
          <c:bubbleSize>
            <c:numRef>
              <c:f>Sheet1!$C$2:$C$9</c:f>
              <c:numCache>
                <c:formatCode>General</c:formatCode>
                <c:ptCount val="8"/>
                <c:pt idx="0">
                  <c:v>13823058</c:v>
                </c:pt>
                <c:pt idx="1">
                  <c:v>4669152</c:v>
                </c:pt>
                <c:pt idx="2">
                  <c:v>4132361</c:v>
                </c:pt>
                <c:pt idx="3">
                  <c:v>2020323</c:v>
                </c:pt>
                <c:pt idx="4">
                  <c:v>933136</c:v>
                </c:pt>
                <c:pt idx="5">
                  <c:v>672784</c:v>
                </c:pt>
                <c:pt idx="6">
                  <c:v>635240</c:v>
                </c:pt>
                <c:pt idx="7">
                  <c:v>39395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2.0"/>
          <c:min val="10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9CD3DFCF-F4AE-429D-B5B3-9CC88218C2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49436405-5624-49FD-95F5-B1ACFF5E86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40B5361A-742C-4143-BD67-C0EEDB20CE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5CAD08CC-5D19-41FF-A96F-C6687BA346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4319AB49-516B-48FC-A019-C5979ABDBE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5FB3D66C-776B-43A9-810D-9F60B2A56A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7E8FACA3-4D6F-467E-AEAC-93B17A5F24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9616415F-AA3F-4231-8EA5-0B25BD87D5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28.6275</c:v>
                </c:pt>
                <c:pt idx="1">
                  <c:v>549.8038</c:v>
                </c:pt>
                <c:pt idx="2">
                  <c:v>529.0403</c:v>
                </c:pt>
                <c:pt idx="3">
                  <c:v>233.2843</c:v>
                </c:pt>
                <c:pt idx="4">
                  <c:v>529.2376</c:v>
                </c:pt>
                <c:pt idx="5">
                  <c:v>362.6623</c:v>
                </c:pt>
                <c:pt idx="6">
                  <c:v>263.1961</c:v>
                </c:pt>
              </c:numCache>
            </c:numRef>
          </c:xVal>
          <c:yVal>
            <c:numRef>
              <c:f>Sheet1!$B$2:$B$8</c:f>
              <c:numCache>
                <c:formatCode>General</c:formatCode>
                <c:ptCount val="7"/>
                <c:pt idx="0">
                  <c:v>1.029</c:v>
                </c:pt>
                <c:pt idx="1">
                  <c:v>1.105</c:v>
                </c:pt>
                <c:pt idx="2">
                  <c:v>1.228</c:v>
                </c:pt>
                <c:pt idx="3">
                  <c:v>0.555</c:v>
                </c:pt>
                <c:pt idx="4">
                  <c:v>1.068</c:v>
                </c:pt>
                <c:pt idx="5">
                  <c:v>1.175</c:v>
                </c:pt>
                <c:pt idx="6">
                  <c:v>0.547</c:v>
                </c:pt>
              </c:numCache>
            </c:numRef>
          </c:yVal>
          <c:bubbleSize>
            <c:numRef>
              <c:f>Sheet1!$C$2:$C$8</c:f>
              <c:numCache>
                <c:formatCode>General</c:formatCode>
                <c:ptCount val="7"/>
                <c:pt idx="0">
                  <c:v>8379275</c:v>
                </c:pt>
                <c:pt idx="1">
                  <c:v>5299559</c:v>
                </c:pt>
                <c:pt idx="2">
                  <c:v>2663718</c:v>
                </c:pt>
                <c:pt idx="3">
                  <c:v>2100492</c:v>
                </c:pt>
                <c:pt idx="4">
                  <c:v>1220422</c:v>
                </c:pt>
                <c:pt idx="5">
                  <c:v>803297</c:v>
                </c:pt>
                <c:pt idx="6">
                  <c:v>8185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0.0"/>
          <c:min val="187.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BEF8BA4-BA98-47D9-8F3D-6275994BB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72D8BEE-EFA7-4CB6-804F-317F69FBA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1DD4C31-35E6-4FF2-B6AA-5497880667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D7A3199-5109-479C-81DC-BD5657C7CC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06393C1-ABB2-4A8D-B998-5C4FF91748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8101F41-F82D-4BC0-A011-9924A59AF8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9E2EB46-F34E-43A3-B102-D5DFF694EF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F9C55A0-6142-4A50-95EB-2F9D1D347C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3.9773</c:v>
                </c:pt>
                <c:pt idx="1">
                  <c:v>243.5957</c:v>
                </c:pt>
                <c:pt idx="2">
                  <c:v>280.8538</c:v>
                </c:pt>
                <c:pt idx="3">
                  <c:v>87.3988</c:v>
                </c:pt>
                <c:pt idx="4">
                  <c:v>229.4393</c:v>
                </c:pt>
                <c:pt idx="5">
                  <c:v>73.7171</c:v>
                </c:pt>
                <c:pt idx="6">
                  <c:v>609.8011</c:v>
                </c:pt>
                <c:pt idx="7">
                  <c:v>314.0153</c:v>
                </c:pt>
              </c:numCache>
            </c:numRef>
          </c:xVal>
          <c:yVal>
            <c:numRef>
              <c:f>Sheet1!$B$2:$B$9</c:f>
              <c:numCache>
                <c:formatCode>General</c:formatCode>
                <c:ptCount val="8"/>
                <c:pt idx="0">
                  <c:v>1.476</c:v>
                </c:pt>
                <c:pt idx="1">
                  <c:v>0.856</c:v>
                </c:pt>
                <c:pt idx="2">
                  <c:v>2.135</c:v>
                </c:pt>
                <c:pt idx="3">
                  <c:v>0.491</c:v>
                </c:pt>
                <c:pt idx="4">
                  <c:v>0.779</c:v>
                </c:pt>
                <c:pt idx="5">
                  <c:v>0.464</c:v>
                </c:pt>
                <c:pt idx="6">
                  <c:v>12.891</c:v>
                </c:pt>
                <c:pt idx="7">
                  <c:v>2.777</c:v>
                </c:pt>
              </c:numCache>
            </c:numRef>
          </c:yVal>
          <c:bubbleSize>
            <c:numRef>
              <c:f>Sheet1!$C$2:$C$9</c:f>
              <c:numCache>
                <c:formatCode>General</c:formatCode>
                <c:ptCount val="8"/>
                <c:pt idx="0">
                  <c:v>39156801</c:v>
                </c:pt>
                <c:pt idx="1">
                  <c:v>13549521</c:v>
                </c:pt>
                <c:pt idx="2">
                  <c:v>12857206</c:v>
                </c:pt>
                <c:pt idx="3">
                  <c:v>10152939</c:v>
                </c:pt>
                <c:pt idx="4">
                  <c:v>9754842</c:v>
                </c:pt>
                <c:pt idx="5">
                  <c:v>3202788</c:v>
                </c:pt>
                <c:pt idx="6">
                  <c:v>1489744</c:v>
                </c:pt>
                <c:pt idx="7">
                  <c:v>129499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2.0"/>
          <c:min val="59.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AA984E-2468-4E0E-8305-DA04FBCEA9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F539546-2A3F-4AB4-8068-6377DC6791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AC13FE9-7C3B-4419-85AB-924B64A7A5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BE37E80-ED17-4A6D-B855-BEB2A9ABF8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0E1B1F2-BA4E-4141-A834-B2EFA2D952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8577670-36C7-46A9-9327-D9394BA84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8AA8AE8-FCA1-42F5-AE53-5ABFCEED90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4600C8F-DFFF-47B3-AE15-AB84D07C42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7.4459</c:v>
                </c:pt>
                <c:pt idx="1">
                  <c:v>289.0043</c:v>
                </c:pt>
                <c:pt idx="2">
                  <c:v>234.1463</c:v>
                </c:pt>
                <c:pt idx="3">
                  <c:v>84.9795</c:v>
                </c:pt>
                <c:pt idx="4">
                  <c:v>240.1393</c:v>
                </c:pt>
                <c:pt idx="5">
                  <c:v>601.1332</c:v>
                </c:pt>
                <c:pt idx="6">
                  <c:v>74.4418</c:v>
                </c:pt>
                <c:pt idx="7">
                  <c:v>628.8737</c:v>
                </c:pt>
              </c:numCache>
            </c:numRef>
          </c:xVal>
          <c:yVal>
            <c:numRef>
              <c:f>Sheet1!$B$2:$B$9</c:f>
              <c:numCache>
                <c:formatCode>General</c:formatCode>
                <c:ptCount val="8"/>
                <c:pt idx="0">
                  <c:v>1.405</c:v>
                </c:pt>
                <c:pt idx="1">
                  <c:v>2.035</c:v>
                </c:pt>
                <c:pt idx="2">
                  <c:v>0.749</c:v>
                </c:pt>
                <c:pt idx="3">
                  <c:v>0.452</c:v>
                </c:pt>
                <c:pt idx="4">
                  <c:v>0.69</c:v>
                </c:pt>
                <c:pt idx="5">
                  <c:v>8.591</c:v>
                </c:pt>
                <c:pt idx="6">
                  <c:v>0.405</c:v>
                </c:pt>
                <c:pt idx="7">
                  <c:v>5.034</c:v>
                </c:pt>
              </c:numCache>
            </c:numRef>
          </c:yVal>
          <c:bubbleSize>
            <c:numRef>
              <c:f>Sheet1!$C$2:$C$9</c:f>
              <c:numCache>
                <c:formatCode>General</c:formatCode>
                <c:ptCount val="8"/>
                <c:pt idx="0">
                  <c:v>36316877</c:v>
                </c:pt>
                <c:pt idx="1">
                  <c:v>15832523</c:v>
                </c:pt>
                <c:pt idx="2">
                  <c:v>13015722</c:v>
                </c:pt>
                <c:pt idx="3">
                  <c:v>12461813</c:v>
                </c:pt>
                <c:pt idx="4">
                  <c:v>11205618</c:v>
                </c:pt>
                <c:pt idx="5">
                  <c:v>7913318</c:v>
                </c:pt>
                <c:pt idx="6">
                  <c:v>4963182</c:v>
                </c:pt>
                <c:pt idx="7">
                  <c:v>30318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55.0"/>
          <c:min val="60.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4937A13B-0812-43B3-B839-8388427338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98CC5DF5-CE4F-4A29-91E7-5131DF25C1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95121B6E-14AC-4ABE-B6FA-B2BC14CB63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FFE6A9B4-0FA7-4673-93B5-D085585102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00F16012-F2D0-4198-A7C8-56785CBF67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1BF826E3-D0C6-4464-96E1-9EA9B7E52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9F91D556-2A67-4027-9293-2697CB0E08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8EC3188F-1971-4214-BFFD-E02FE8F9DF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25.6895</c:v>
                </c:pt>
                <c:pt idx="1">
                  <c:v>191.9097</c:v>
                </c:pt>
                <c:pt idx="2">
                  <c:v>162.4524</c:v>
                </c:pt>
                <c:pt idx="3">
                  <c:v>214.8602</c:v>
                </c:pt>
              </c:numCache>
            </c:numRef>
          </c:xVal>
          <c:yVal>
            <c:numRef>
              <c:f>Sheet1!$B$2:$B$5</c:f>
              <c:numCache>
                <c:formatCode>General</c:formatCode>
                <c:ptCount val="4"/>
                <c:pt idx="0">
                  <c:v>0.975</c:v>
                </c:pt>
                <c:pt idx="1">
                  <c:v>0.875</c:v>
                </c:pt>
                <c:pt idx="2">
                  <c:v>0.807</c:v>
                </c:pt>
                <c:pt idx="3">
                  <c:v>3.12</c:v>
                </c:pt>
              </c:numCache>
            </c:numRef>
          </c:yVal>
          <c:bubbleSize>
            <c:numRef>
              <c:f>Sheet1!$C$2:$C$5</c:f>
              <c:numCache>
                <c:formatCode>General</c:formatCode>
                <c:ptCount val="4"/>
                <c:pt idx="0">
                  <c:v>28072614</c:v>
                </c:pt>
                <c:pt idx="1">
                  <c:v>21682914</c:v>
                </c:pt>
                <c:pt idx="2">
                  <c:v>4595292</c:v>
                </c:pt>
                <c:pt idx="3">
                  <c:v>184564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1.0"/>
          <c:min val="130.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480EA9B0-CC52-42AE-85F7-2E266DC355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D3A17499-878C-4648-9535-E498C402DC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7815F5FC-F12E-42BD-B18E-F5986E3375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173285F2-80BA-461B-9350-49261BD027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96707BEE-27A5-4151-B620-AE9DB7281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E9BEF780-BBF4-419A-8003-54971952F9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7526B37D-44B9-4D3E-AEEA-15CE8A159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DF94605E-F883-404B-8BAB-4D60E3790E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5.8971</c:v>
                </c:pt>
                <c:pt idx="1">
                  <c:v>455.8596</c:v>
                </c:pt>
                <c:pt idx="2">
                  <c:v>304.6145</c:v>
                </c:pt>
                <c:pt idx="3">
                  <c:v>427.7079</c:v>
                </c:pt>
                <c:pt idx="4">
                  <c:v>503.9086</c:v>
                </c:pt>
                <c:pt idx="5">
                  <c:v>166.6178</c:v>
                </c:pt>
                <c:pt idx="6">
                  <c:v>295.6549</c:v>
                </c:pt>
                <c:pt idx="7">
                  <c:v>262.897</c:v>
                </c:pt>
              </c:numCache>
            </c:numRef>
          </c:xVal>
          <c:yVal>
            <c:numRef>
              <c:f>Sheet1!$B$2:$B$9</c:f>
              <c:numCache>
                <c:formatCode>General</c:formatCode>
                <c:ptCount val="8"/>
                <c:pt idx="0">
                  <c:v>2.219</c:v>
                </c:pt>
                <c:pt idx="1">
                  <c:v>1.8</c:v>
                </c:pt>
                <c:pt idx="2">
                  <c:v>0.744</c:v>
                </c:pt>
                <c:pt idx="3">
                  <c:v>1.121</c:v>
                </c:pt>
                <c:pt idx="4">
                  <c:v>0.541</c:v>
                </c:pt>
                <c:pt idx="5">
                  <c:v>0.999</c:v>
                </c:pt>
                <c:pt idx="6">
                  <c:v>2.341</c:v>
                </c:pt>
                <c:pt idx="7">
                  <c:v>0.165</c:v>
                </c:pt>
              </c:numCache>
            </c:numRef>
          </c:yVal>
          <c:bubbleSize>
            <c:numRef>
              <c:f>Sheet1!$C$2:$C$9</c:f>
              <c:numCache>
                <c:formatCode>General</c:formatCode>
                <c:ptCount val="8"/>
                <c:pt idx="0">
                  <c:v>6292251</c:v>
                </c:pt>
                <c:pt idx="1">
                  <c:v>4300124</c:v>
                </c:pt>
                <c:pt idx="2">
                  <c:v>2476516</c:v>
                </c:pt>
                <c:pt idx="3">
                  <c:v>2076094</c:v>
                </c:pt>
                <c:pt idx="4">
                  <c:v>1069294</c:v>
                </c:pt>
                <c:pt idx="5">
                  <c:v>768941</c:v>
                </c:pt>
                <c:pt idx="6">
                  <c:v>709276</c:v>
                </c:pt>
                <c:pt idx="7">
                  <c:v>4337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05.0"/>
          <c:min val="133.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9EE59328-F010-496D-BF10-F3E01357D0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8E1A082F-80FC-4C9C-BCA6-5B38672746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243EC9FB-6BFA-4ACD-B8B6-6DAFA6B896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DD262B28-B1AD-4185-BEE3-BF579E8ACE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B6464469-0275-4404-B889-A4BBBAC683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6F40D302-7E71-43B7-846A-192E1C971A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CABE9365-5C02-4D38-A292-976E02B213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D3FC3BCC-AA15-453A-B994-B60CB8FB11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58.6869</c:v>
                </c:pt>
                <c:pt idx="1">
                  <c:v>601.0742</c:v>
                </c:pt>
                <c:pt idx="2">
                  <c:v>551.8813</c:v>
                </c:pt>
                <c:pt idx="3">
                  <c:v>168.5996</c:v>
                </c:pt>
                <c:pt idx="4">
                  <c:v>134.0757</c:v>
                </c:pt>
                <c:pt idx="5">
                  <c:v>561.1701</c:v>
                </c:pt>
                <c:pt idx="6">
                  <c:v>636.5479</c:v>
                </c:pt>
              </c:numCache>
            </c:numRef>
          </c:xVal>
          <c:yVal>
            <c:numRef>
              <c:f>Sheet1!$B$2:$B$8</c:f>
              <c:numCache>
                <c:formatCode>General</c:formatCode>
                <c:ptCount val="7"/>
                <c:pt idx="0">
                  <c:v>0.99</c:v>
                </c:pt>
                <c:pt idx="1">
                  <c:v>1.745</c:v>
                </c:pt>
                <c:pt idx="2">
                  <c:v>8.173</c:v>
                </c:pt>
                <c:pt idx="3">
                  <c:v>0.501</c:v>
                </c:pt>
                <c:pt idx="4">
                  <c:v>0.307</c:v>
                </c:pt>
                <c:pt idx="5">
                  <c:v>8.331</c:v>
                </c:pt>
                <c:pt idx="6">
                  <c:v>0.0</c:v>
                </c:pt>
              </c:numCache>
            </c:numRef>
          </c:yVal>
          <c:bubbleSize>
            <c:numRef>
              <c:f>Sheet1!$C$2:$C$8</c:f>
              <c:numCache>
                <c:formatCode>General</c:formatCode>
                <c:ptCount val="7"/>
                <c:pt idx="0">
                  <c:v>16062904</c:v>
                </c:pt>
                <c:pt idx="1">
                  <c:v>3238588</c:v>
                </c:pt>
                <c:pt idx="2">
                  <c:v>1854873</c:v>
                </c:pt>
                <c:pt idx="3">
                  <c:v>1242916</c:v>
                </c:pt>
                <c:pt idx="4">
                  <c:v>1106527</c:v>
                </c:pt>
                <c:pt idx="5">
                  <c:v>798545</c:v>
                </c:pt>
                <c:pt idx="6">
                  <c:v>27880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64.0"/>
          <c:min val="107.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DAEF8DD6-FF94-45D8-BB61-2589B2B784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21A01555-CCA3-4B84-B89A-88572726A1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4587CCF5-9333-4D89-B83C-FC1BEAE14A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3D82BBC8-3BA9-4B04-99BD-154BFC14F4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08F0ED8E-7B7D-46C8-9BCE-7E0993BC9D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0E9EA081-79EB-4398-B25A-90ECD72F0C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87C24A48-1D3E-46AA-9485-23138AAEEA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FD0E015B-C7BB-432D-86C0-81D221AB83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71.565</c:v>
                </c:pt>
                <c:pt idx="1">
                  <c:v>596.1074</c:v>
                </c:pt>
                <c:pt idx="2">
                  <c:v>245.0052</c:v>
                </c:pt>
                <c:pt idx="3">
                  <c:v>538.8012</c:v>
                </c:pt>
                <c:pt idx="4">
                  <c:v>535.9268</c:v>
                </c:pt>
                <c:pt idx="5">
                  <c:v>453.0601</c:v>
                </c:pt>
                <c:pt idx="6">
                  <c:v>273.3755</c:v>
                </c:pt>
              </c:numCache>
            </c:numRef>
          </c:xVal>
          <c:yVal>
            <c:numRef>
              <c:f>Sheet1!$B$2:$B$8</c:f>
              <c:numCache>
                <c:formatCode>General</c:formatCode>
                <c:ptCount val="7"/>
                <c:pt idx="0">
                  <c:v>1.087</c:v>
                </c:pt>
                <c:pt idx="1">
                  <c:v>1.258</c:v>
                </c:pt>
                <c:pt idx="2">
                  <c:v>0.54</c:v>
                </c:pt>
                <c:pt idx="3">
                  <c:v>0.956</c:v>
                </c:pt>
                <c:pt idx="4">
                  <c:v>11.086</c:v>
                </c:pt>
                <c:pt idx="5">
                  <c:v>2.271</c:v>
                </c:pt>
                <c:pt idx="6">
                  <c:v>0.433</c:v>
                </c:pt>
              </c:numCache>
            </c:numRef>
          </c:yVal>
          <c:bubbleSize>
            <c:numRef>
              <c:f>Sheet1!$C$2:$C$8</c:f>
              <c:numCache>
                <c:formatCode>General</c:formatCode>
                <c:ptCount val="7"/>
                <c:pt idx="0">
                  <c:v>2593762</c:v>
                </c:pt>
                <c:pt idx="1">
                  <c:v>2529880</c:v>
                </c:pt>
                <c:pt idx="2">
                  <c:v>1803483</c:v>
                </c:pt>
                <c:pt idx="3">
                  <c:v>842685</c:v>
                </c:pt>
                <c:pt idx="4">
                  <c:v>651687</c:v>
                </c:pt>
                <c:pt idx="5">
                  <c:v>347044</c:v>
                </c:pt>
                <c:pt idx="6">
                  <c:v>7135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5.0"/>
          <c:min val="196.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521475C-F9B6-47F3-9CB1-DC4A58B78C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B8BB26D-A5FB-4343-A256-BAB42FAFCD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4A71B55-70BF-4371-9418-DFD1656E36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8533A36-02F7-413D-8001-E169763F18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9804272-A020-4F7C-82C3-D21205DC88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065613E-E67A-417A-9371-090A8FBC35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B8F6EA9-261C-4F76-9AE6-80509BAC7E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1DCF8C4-FA8B-40EA-AA07-F4750C2B3F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0.1884</c:v>
                </c:pt>
                <c:pt idx="1">
                  <c:v>296.7036</c:v>
                </c:pt>
                <c:pt idx="2">
                  <c:v>243.2207</c:v>
                </c:pt>
                <c:pt idx="3">
                  <c:v>246.9895</c:v>
                </c:pt>
                <c:pt idx="4">
                  <c:v>85.8776</c:v>
                </c:pt>
                <c:pt idx="5">
                  <c:v>592.2873</c:v>
                </c:pt>
                <c:pt idx="6">
                  <c:v>74.8204</c:v>
                </c:pt>
                <c:pt idx="7">
                  <c:v>522.1482</c:v>
                </c:pt>
              </c:numCache>
            </c:numRef>
          </c:xVal>
          <c:yVal>
            <c:numRef>
              <c:f>Sheet1!$B$2:$B$9</c:f>
              <c:numCache>
                <c:formatCode>General</c:formatCode>
                <c:ptCount val="8"/>
                <c:pt idx="0">
                  <c:v>1.42</c:v>
                </c:pt>
                <c:pt idx="1">
                  <c:v>2.217</c:v>
                </c:pt>
                <c:pt idx="2">
                  <c:v>0.769</c:v>
                </c:pt>
                <c:pt idx="3">
                  <c:v>0.705</c:v>
                </c:pt>
                <c:pt idx="4">
                  <c:v>0.428</c:v>
                </c:pt>
                <c:pt idx="5">
                  <c:v>8.622</c:v>
                </c:pt>
                <c:pt idx="6">
                  <c:v>0.407</c:v>
                </c:pt>
                <c:pt idx="7">
                  <c:v>5.418</c:v>
                </c:pt>
              </c:numCache>
            </c:numRef>
          </c:yVal>
          <c:bubbleSize>
            <c:numRef>
              <c:f>Sheet1!$C$2:$C$9</c:f>
              <c:numCache>
                <c:formatCode>General</c:formatCode>
                <c:ptCount val="8"/>
                <c:pt idx="0">
                  <c:v>29673359</c:v>
                </c:pt>
                <c:pt idx="1">
                  <c:v>15085897</c:v>
                </c:pt>
                <c:pt idx="2">
                  <c:v>13521853</c:v>
                </c:pt>
                <c:pt idx="3">
                  <c:v>13036602</c:v>
                </c:pt>
                <c:pt idx="4">
                  <c:v>11365128</c:v>
                </c:pt>
                <c:pt idx="5">
                  <c:v>7846030</c:v>
                </c:pt>
                <c:pt idx="6">
                  <c:v>4294539</c:v>
                </c:pt>
                <c:pt idx="7">
                  <c:v>232825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1.0"/>
          <c:min val="60.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691CECC-CE0B-4F61-9E6F-918AAEB1A2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23A19E3-F94A-4051-8D15-BC61D40759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E0AB32C-6EA1-4EF0-835F-7784788198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AC25060-7DB3-4C09-AC49-8DCB680FAA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C369EA8-E943-416E-A335-A975435A99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1A2E423-4365-4B42-9CA7-58D5CD75F7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430A205-F261-474F-A2D0-29DB271BE1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20AC7B6-78C3-4DF2-B7C3-D238BB43C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4305</c:v>
                </c:pt>
                <c:pt idx="1">
                  <c:v>245.5688</c:v>
                </c:pt>
                <c:pt idx="2">
                  <c:v>294.3934</c:v>
                </c:pt>
                <c:pt idx="3">
                  <c:v>241.8605</c:v>
                </c:pt>
                <c:pt idx="4">
                  <c:v>80.9126</c:v>
                </c:pt>
                <c:pt idx="5">
                  <c:v>614.8187</c:v>
                </c:pt>
                <c:pt idx="6">
                  <c:v>73.0856</c:v>
                </c:pt>
                <c:pt idx="7">
                  <c:v>635.6437</c:v>
                </c:pt>
              </c:numCache>
            </c:numRef>
          </c:xVal>
          <c:yVal>
            <c:numRef>
              <c:f>Sheet1!$B$2:$B$9</c:f>
              <c:numCache>
                <c:formatCode>General</c:formatCode>
                <c:ptCount val="8"/>
                <c:pt idx="0">
                  <c:v>1.506</c:v>
                </c:pt>
                <c:pt idx="1">
                  <c:v>0.745</c:v>
                </c:pt>
                <c:pt idx="2">
                  <c:v>2.109</c:v>
                </c:pt>
                <c:pt idx="3">
                  <c:v>0.694</c:v>
                </c:pt>
                <c:pt idx="4">
                  <c:v>0.424</c:v>
                </c:pt>
                <c:pt idx="5">
                  <c:v>11.061</c:v>
                </c:pt>
                <c:pt idx="6">
                  <c:v>0.392</c:v>
                </c:pt>
                <c:pt idx="7">
                  <c:v>6.004</c:v>
                </c:pt>
              </c:numCache>
            </c:numRef>
          </c:yVal>
          <c:bubbleSize>
            <c:numRef>
              <c:f>Sheet1!$C$2:$C$9</c:f>
              <c:numCache>
                <c:formatCode>General</c:formatCode>
                <c:ptCount val="8"/>
                <c:pt idx="0">
                  <c:v>27695220</c:v>
                </c:pt>
                <c:pt idx="1">
                  <c:v>9764061</c:v>
                </c:pt>
                <c:pt idx="2">
                  <c:v>9055836</c:v>
                </c:pt>
                <c:pt idx="3">
                  <c:v>7898680</c:v>
                </c:pt>
                <c:pt idx="4">
                  <c:v>5504728</c:v>
                </c:pt>
                <c:pt idx="5">
                  <c:v>2370126</c:v>
                </c:pt>
                <c:pt idx="6">
                  <c:v>1528440</c:v>
                </c:pt>
                <c:pt idx="7">
                  <c:v>103292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63.0"/>
          <c:min val="58.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6881C41-3481-4EB8-9CFF-743074C828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33930AC0-3AC2-4EE5-AED9-515C0F7EA3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B0ECF535-613C-4E1B-A692-FFD03753A7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77C72BF3-4B17-4926-84CD-5A1BF3DC65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DB8ADF95-5E9D-4C86-A4DE-E43AB1D54D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3EAB4AFC-480E-4634-B67B-DC822875D2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E52D9773-B08A-439E-8FE5-7F9B1B8608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D1B2BD93-7A01-4234-8DCC-6E003FB7A7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16.5162</c:v>
                </c:pt>
                <c:pt idx="1">
                  <c:v>182.1059</c:v>
                </c:pt>
                <c:pt idx="2">
                  <c:v>163.6695</c:v>
                </c:pt>
                <c:pt idx="3">
                  <c:v>222.3146</c:v>
                </c:pt>
              </c:numCache>
            </c:numRef>
          </c:xVal>
          <c:yVal>
            <c:numRef>
              <c:f>Sheet1!$B$2:$B$5</c:f>
              <c:numCache>
                <c:formatCode>General</c:formatCode>
                <c:ptCount val="4"/>
                <c:pt idx="0">
                  <c:v>0.967</c:v>
                </c:pt>
                <c:pt idx="1">
                  <c:v>0.887</c:v>
                </c:pt>
                <c:pt idx="2">
                  <c:v>0.804</c:v>
                </c:pt>
                <c:pt idx="3">
                  <c:v>3.134</c:v>
                </c:pt>
              </c:numCache>
            </c:numRef>
          </c:yVal>
          <c:bubbleSize>
            <c:numRef>
              <c:f>Sheet1!$C$2:$C$5</c:f>
              <c:numCache>
                <c:formatCode>General</c:formatCode>
                <c:ptCount val="4"/>
                <c:pt idx="0">
                  <c:v>22540199</c:v>
                </c:pt>
                <c:pt idx="1">
                  <c:v>14187871</c:v>
                </c:pt>
                <c:pt idx="2">
                  <c:v>3074204</c:v>
                </c:pt>
                <c:pt idx="3">
                  <c:v>14926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67.0"/>
          <c:min val="131.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8353D29A-8034-4A5A-93EE-7F23336535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805F2886-DE7B-4BD2-A095-2A1374F214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51B9D345-0CBC-490B-9B12-10BA363878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562197B7-4B32-43D6-BC1A-EB1F9AB76F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B901E892-B337-42A5-9654-3DBB6C1103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682810A8-E780-4ED9-961B-F5FB2C2DA3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EBCBEC0E-FBD8-4CC3-BEFF-A4393C482D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0375E7F2-548B-4578-9308-28E9BFEFFE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67.9113</c:v>
                </c:pt>
                <c:pt idx="1">
                  <c:v>169.8439</c:v>
                </c:pt>
                <c:pt idx="2">
                  <c:v>136.4699</c:v>
                </c:pt>
                <c:pt idx="3">
                  <c:v>603.704</c:v>
                </c:pt>
                <c:pt idx="4">
                  <c:v>555.2816</c:v>
                </c:pt>
                <c:pt idx="5">
                  <c:v>513.7652</c:v>
                </c:pt>
              </c:numCache>
            </c:numRef>
          </c:xVal>
          <c:yVal>
            <c:numRef>
              <c:f>Sheet1!$B$2:$B$7</c:f>
              <c:numCache>
                <c:formatCode>General</c:formatCode>
                <c:ptCount val="6"/>
                <c:pt idx="0">
                  <c:v>1.109</c:v>
                </c:pt>
                <c:pt idx="1">
                  <c:v>0.545</c:v>
                </c:pt>
                <c:pt idx="2">
                  <c:v>0.332</c:v>
                </c:pt>
                <c:pt idx="3">
                  <c:v>1.932</c:v>
                </c:pt>
                <c:pt idx="4">
                  <c:v>9.227</c:v>
                </c:pt>
                <c:pt idx="5">
                  <c:v>8.566</c:v>
                </c:pt>
              </c:numCache>
            </c:numRef>
          </c:yVal>
          <c:bubbleSize>
            <c:numRef>
              <c:f>Sheet1!$C$2:$C$7</c:f>
              <c:numCache>
                <c:formatCode>General</c:formatCode>
                <c:ptCount val="6"/>
                <c:pt idx="0">
                  <c:v>10553829</c:v>
                </c:pt>
                <c:pt idx="1">
                  <c:v>1178207</c:v>
                </c:pt>
                <c:pt idx="2">
                  <c:v>940414</c:v>
                </c:pt>
                <c:pt idx="3">
                  <c:v>868730</c:v>
                </c:pt>
                <c:pt idx="4">
                  <c:v>865684</c:v>
                </c:pt>
                <c:pt idx="5">
                  <c:v>77013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4.0"/>
          <c:min val="109.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CF5EEE35-44D7-4D53-BE46-0B8CB8532A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A71A8575-2E35-4D1D-AFF8-13ABB1F691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F7EE0C58-D15D-463E-8455-B33977EAFE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E3DDCFD1-4B14-4DF6-9DF4-E81E785343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939CE943-18F2-4ABD-8282-92FC6B8367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3328DE8E-6883-4F86-A32D-4CEC8ED4CE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C3138AD4-1FD3-4CE2-B31C-94C680F223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EB682E77-C385-41F0-A2C6-894331CB18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4.841</c:v>
                </c:pt>
                <c:pt idx="1">
                  <c:v>613.1876</c:v>
                </c:pt>
                <c:pt idx="2">
                  <c:v>587.8717</c:v>
                </c:pt>
                <c:pt idx="3">
                  <c:v>525.4558</c:v>
                </c:pt>
                <c:pt idx="4">
                  <c:v>314.7817</c:v>
                </c:pt>
                <c:pt idx="5">
                  <c:v>605.6221</c:v>
                </c:pt>
                <c:pt idx="6">
                  <c:v>268.7677</c:v>
                </c:pt>
              </c:numCache>
            </c:numRef>
          </c:xVal>
          <c:yVal>
            <c:numRef>
              <c:f>Sheet1!$B$2:$B$8</c:f>
              <c:numCache>
                <c:formatCode>General</c:formatCode>
                <c:ptCount val="7"/>
                <c:pt idx="0">
                  <c:v>0.522</c:v>
                </c:pt>
                <c:pt idx="1">
                  <c:v>2.402</c:v>
                </c:pt>
                <c:pt idx="2">
                  <c:v>2.154</c:v>
                </c:pt>
                <c:pt idx="3">
                  <c:v>1.159</c:v>
                </c:pt>
                <c:pt idx="4">
                  <c:v>1.03</c:v>
                </c:pt>
                <c:pt idx="5">
                  <c:v>0.0</c:v>
                </c:pt>
                <c:pt idx="6">
                  <c:v>0.526</c:v>
                </c:pt>
              </c:numCache>
            </c:numRef>
          </c:yVal>
          <c:bubbleSize>
            <c:numRef>
              <c:f>Sheet1!$C$2:$C$8</c:f>
              <c:numCache>
                <c:formatCode>General</c:formatCode>
                <c:ptCount val="7"/>
                <c:pt idx="0">
                  <c:v>1312348</c:v>
                </c:pt>
                <c:pt idx="1">
                  <c:v>1019731</c:v>
                </c:pt>
                <c:pt idx="2">
                  <c:v>888862</c:v>
                </c:pt>
                <c:pt idx="3">
                  <c:v>273237</c:v>
                </c:pt>
                <c:pt idx="4">
                  <c:v>230735</c:v>
                </c:pt>
                <c:pt idx="5">
                  <c:v>104167</c:v>
                </c:pt>
                <c:pt idx="6">
                  <c:v>6826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6.0"/>
          <c:min val="196.0"/>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691166B-4620-4C3A-A457-07D7045CC2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86EA771-73F7-4BB5-8074-C572B950A6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16D9CB6-40B8-4511-8D6C-A875264613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0AE7C5F-DA9D-49D6-BB17-6E63F9090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B356035-7B6E-41C7-84F0-F876539E40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2B387C9-6CB0-4086-83FE-F6C36D372D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31F02B6-5E61-4A38-9356-81D55D88A9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0D7B5DF-E05D-4436-81E5-9E11C6181D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89BAD65-ECFC-4571-8289-90EE538F5A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F49CD16-B3BC-44E3-A321-342DB8135D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A185FE0-94F8-4B42-B534-1C02B2AE58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D932D3B-B8A6-4619-B4A7-5DDAE719DA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08F3122-DD1F-4552-8C5A-9AA9A93675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F73BF66-368A-47C5-9874-162C9105DE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69EA795-0BF2-42F9-982D-17BF3B060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04D3A80-47AD-4E62-B18C-C0BE77F9AB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1D642E49-95F6-4DA6-8E1B-21A0EB915C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4AC7ED0F-F000-480F-AD1D-9B068D9F6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2FE8B823-EF16-466C-A0F9-4A8D1DA641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D14CEFC0-ECE6-41B7-897F-8FBEC15002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3DC0E62B-B41B-4F69-8A32-F4944B0A5E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F1797C8B-0FAB-4860-9334-1DCAB0E7C0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BC8A0CB9-1AA4-4225-9628-A749A8E2AA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96356130-5EEC-4ADC-BECF-5C7AFB4E6E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7/06/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6.xml"/></Relationships>
</file>

<file path=ppt/notesSlides/_rels/notesSlide1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6.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7.xml"/></Relationships>
</file>

<file path=ppt/notesSlides/_rels/notesSlide1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8.xml"/></Relationships>
</file>

<file path=ppt/notesSlides/_rels/notesSlide1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9.xml"/></Relationships>
</file>

<file path=ppt/notesSlides/_rels/notesSlide1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0.xml"/></Relationships>
</file>

<file path=ppt/notesSlides/_rels/notesSlide1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1.xml"/></Relationships>
</file>

<file path=ppt/notesSlides/_rels/notesSlide1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2.xml"/></Relationships>
</file>

<file path=ppt/notesSlides/_rels/notesSlide1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3.xml"/></Relationships>
</file>

<file path=ppt/notesSlides/_rels/notesSlide1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4.xml"/></Relationships>
</file>

<file path=ppt/notesSlides/_rels/notesSlide1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5.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7.xml"/></Relationships>
</file>

<file path=ppt/notesSlides/_rels/notesSlide1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6.xml"/></Relationships>
</file>

<file path=ppt/notesSlides/_rels/notesSlide1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7.xml"/></Relationships>
</file>

<file path=ppt/notesSlides/_rels/notesSlide1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8.xml"/></Relationships>
</file>

<file path=ppt/notesSlides/_rels/notesSlide1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9.xml"/></Relationships>
</file>

<file path=ppt/notesSlides/_rels/notesSlide1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0.xml"/></Relationships>
</file>

<file path=ppt/notesSlides/_rels/notesSlide1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1.xml"/></Relationships>
</file>

<file path=ppt/notesSlides/_rels/notesSlide1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2.xml"/></Relationships>
</file>

<file path=ppt/notesSlides/_rels/notesSlide1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3.xml"/></Relationships>
</file>

<file path=ppt/notesSlides/_rels/notesSlide1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4.xml"/></Relationships>
</file>

<file path=ppt/notesSlides/_rels/notesSlide1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5.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8.xml"/></Relationships>
</file>

<file path=ppt/notesSlides/_rels/notesSlide1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6.xml"/></Relationships>
</file>

<file path=ppt/notesSlides/_rels/notesSlide1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7.xml"/></Relationships>
</file>

<file path=ppt/notesSlides/_rels/notesSlide1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8.xml"/></Relationships>
</file>

<file path=ppt/notesSlides/_rels/notesSlide1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9.xml"/></Relationships>
</file>

<file path=ppt/notesSlides/_rels/notesSlide1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0.xml"/></Relationships>
</file>

<file path=ppt/notesSlides/_rels/notesSlide1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1.xml"/></Relationships>
</file>

<file path=ppt/notesSlides/_rels/notesSlide1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2.xml"/></Relationships>
</file>

<file path=ppt/notesSlides/_rels/notesSlide1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3.xml"/></Relationships>
</file>

<file path=ppt/notesSlides/_rels/notesSlide1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4.xml"/></Relationships>
</file>

<file path=ppt/notesSlides/_rels/notesSlide1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5.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9.xml"/></Relationships>
</file>

<file path=ppt/notesSlides/_rels/notesSlide1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6.xml"/></Relationships>
</file>

<file path=ppt/notesSlides/_rels/notesSlide1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7.xml"/></Relationships>
</file>

<file path=ppt/notesSlides/_rels/notesSlide1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8.xml"/></Relationships>
</file>

<file path=ppt/notesSlides/_rels/notesSlide1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9.xml"/></Relationships>
</file>

<file path=ppt/notesSlides/_rels/notesSlide1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0.xml"/></Relationships>
</file>

<file path=ppt/notesSlides/_rels/notesSlide1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1.xml"/></Relationships>
</file>

<file path=ppt/notesSlides/_rels/notesSlide1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2.xml"/></Relationships>
</file>

<file path=ppt/notesSlides/_rels/notesSlide1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3.xml"/></Relationships>
</file>

<file path=ppt/notesSlides/_rels/notesSlide1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4.xml"/></Relationships>
</file>

<file path=ppt/notesSlides/_rels/notesSlide1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5.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0.xml"/></Relationships>
</file>

<file path=ppt/notesSlides/_rels/notesSlide1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6.xml"/></Relationships>
</file>

<file path=ppt/notesSlides/_rels/notesSlide1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7.xml"/></Relationships>
</file>

<file path=ppt/notesSlides/_rels/notesSlide1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8.xml"/></Relationships>
</file>

<file path=ppt/notesSlides/_rels/notesSlide1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9.xml"/></Relationships>
</file>

<file path=ppt/notesSlides/_rels/notesSlide1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0.xml"/></Relationships>
</file>

<file path=ppt/notesSlides/_rels/notesSlide1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1.xml"/></Relationships>
</file>

<file path=ppt/notesSlides/_rels/notesSlide1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2.xml"/></Relationships>
</file>

<file path=ppt/notesSlides/_rels/notesSlide1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3.xml"/></Relationships>
</file>

<file path=ppt/notesSlides/_rels/notesSlide1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4.xml"/></Relationships>
</file>

<file path=ppt/notesSlides/_rels/notesSlide1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5.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1.xml"/></Relationships>
</file>

<file path=ppt/notesSlides/_rels/notesSlide1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6.xml"/></Relationships>
</file>

<file path=ppt/notesSlides/_rels/notesSlide1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7.xml"/></Relationships>
</file>

<file path=ppt/notesSlides/_rels/notesSlide1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8.xml"/></Relationships>
</file>

<file path=ppt/notesSlides/_rels/notesSlide1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9.xml"/></Relationships>
</file>

<file path=ppt/notesSlides/_rels/notesSlide1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0.xml"/></Relationships>
</file>

<file path=ppt/notesSlides/_rels/notesSlide1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1.xml"/></Relationships>
</file>

<file path=ppt/notesSlides/_rels/notesSlide1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2.xml"/></Relationships>
</file>

<file path=ppt/notesSlides/_rels/notesSlide1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3.xml"/></Relationships>
</file>

<file path=ppt/notesSlides/_rels/notesSlide1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4.xml"/></Relationships>
</file>

<file path=ppt/notesSlides/_rels/notesSlide1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2.xml"/></Relationships>
</file>

<file path=ppt/notesSlides/_rels/notesSlide1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6.xml"/></Relationships>
</file>

<file path=ppt/notesSlides/_rels/notesSlide1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7.xml"/></Relationships>
</file>

<file path=ppt/notesSlides/_rels/notesSlide1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8.xml"/></Relationships>
</file>

<file path=ppt/notesSlides/_rels/notesSlide1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9.xml"/></Relationships>
</file>

<file path=ppt/notesSlides/_rels/notesSlide1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0.xml"/></Relationships>
</file>

<file path=ppt/notesSlides/_rels/notesSlide1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1.xml"/></Relationships>
</file>

<file path=ppt/notesSlides/_rels/notesSlide1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2.xml"/></Relationships>
</file>

<file path=ppt/notesSlides/_rels/notesSlide1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3.xml"/></Relationships>
</file>

<file path=ppt/notesSlides/_rels/notesSlide1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4.xml"/></Relationships>
</file>

<file path=ppt/notesSlides/_rels/notesSlide1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5.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3.xml"/></Relationships>
</file>

<file path=ppt/notesSlides/_rels/notesSlide1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6.xml"/></Relationships>
</file>

<file path=ppt/notesSlides/_rels/notesSlide1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7.xml"/></Relationships>
</file>

<file path=ppt/notesSlides/_rels/notesSlide1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8.xml"/></Relationships>
</file>

<file path=ppt/notesSlides/_rels/notesSlide1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9.xml"/></Relationships>
</file>

<file path=ppt/notesSlides/_rels/notesSlide1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0.xml"/></Relationships>
</file>

<file path=ppt/notesSlides/_rels/notesSlide1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1.xml"/></Relationships>
</file>

<file path=ppt/notesSlides/_rels/notesSlide1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2.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4.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5.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8.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6.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7.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8.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9.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0.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1.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2.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3.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4.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9.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6.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7.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8.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9.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0.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1.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2.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3.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4.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0.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6.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7.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8.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9.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0.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1.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2.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3.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4.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1.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6.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7.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8.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9.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0.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1.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2.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3.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4.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2.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6.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7.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8.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9.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0.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1.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2.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3.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4.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5.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3.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6.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7.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8.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9.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0.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1.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2.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3.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4.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5.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4.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6.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7.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8.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9.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0.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1.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2.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3.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4.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5.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5.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6.xml"/></Relationships>
</file>

<file path=ppt/notesSlides/_rels/notesSlide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7.xml"/></Relationships>
</file>

<file path=ppt/notesSlides/_rels/notesSlide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8.xml"/></Relationships>
</file>

<file path=ppt/notesSlides/_rels/notesSlide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9.xml"/></Relationships>
</file>

<file path=ppt/notesSlides/_rels/notesSlide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0.xml"/></Relationships>
</file>

<file path=ppt/notesSlides/_rels/notesSlide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1.xml"/></Relationships>
</file>

<file path=ppt/notesSlides/_rels/notesSlide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2.xml"/></Relationships>
</file>

<file path=ppt/notesSlides/_rels/notesSlide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3.xml"/></Relationships>
</file>

<file path=ppt/notesSlides/_rels/notesSlide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4.xml"/></Relationships>
</file>

<file path=ppt/notesSlides/_rels/notesSlide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6/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6/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6/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6/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 Id="rId6" Type="http://schemas.openxmlformats.org/officeDocument/2006/relationships/chart" Target="../charts/chart17.xml"/><Relationship Id="rId7" Type="http://schemas.openxmlformats.org/officeDocument/2006/relationships/chart" Target="../charts/chart18.xml"/><Relationship Id="rId8" Type="http://schemas.openxmlformats.org/officeDocument/2006/relationships/chart" Target="../charts/chart19.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1.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2.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3.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4.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5.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6.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7.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8.xml"/></Relationships>
</file>

<file path=ppt/slides/_rels/slide109.xml.rels><?xml version='1.0' encoding='UTF-8' standalone='yes'?>
<Relationships xmlns="http://schemas.openxmlformats.org/package/2006/relationships"><Relationship Id="rId1" Type="http://schemas.openxmlformats.org/officeDocument/2006/relationships/tags" Target="../tags/tag1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9.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 Id="rId6" Type="http://schemas.openxmlformats.org/officeDocument/2006/relationships/chart" Target="../charts/chart21.xml"/><Relationship Id="rId7" Type="http://schemas.openxmlformats.org/officeDocument/2006/relationships/chart" Target="../charts/chart22.xml"/><Relationship Id="rId8" Type="http://schemas.openxmlformats.org/officeDocument/2006/relationships/chart" Target="../charts/chart23.xml"/></Relationships>
</file>

<file path=ppt/slides/_rels/slide110.xml.rels><?xml version='1.0' encoding='UTF-8' standalone='yes'?>
<Relationships xmlns="http://schemas.openxmlformats.org/package/2006/relationships"><Relationship Id="rId1" Type="http://schemas.openxmlformats.org/officeDocument/2006/relationships/tags" Target="../tags/tag1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0.xml"/></Relationships>
</file>

<file path=ppt/slides/_rels/slide111.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1.xml"/></Relationships>
</file>

<file path=ppt/slides/_rels/slide112.xml.rels><?xml version='1.0' encoding='UTF-8' standalone='yes'?>
<Relationships xmlns="http://schemas.openxmlformats.org/package/2006/relationships"><Relationship Id="rId1" Type="http://schemas.openxmlformats.org/officeDocument/2006/relationships/tags" Target="../tags/tag1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2.xml"/></Relationships>
</file>

<file path=ppt/slides/_rels/slide113.xml.rels><?xml version='1.0' encoding='UTF-8' standalone='yes'?>
<Relationships xmlns="http://schemas.openxmlformats.org/package/2006/relationships"><Relationship Id="rId1" Type="http://schemas.openxmlformats.org/officeDocument/2006/relationships/tags" Target="../tags/tag1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3.xml"/></Relationships>
</file>

<file path=ppt/slides/_rels/slide114.xml.rels><?xml version='1.0' encoding='UTF-8' standalone='yes'?>
<Relationships xmlns="http://schemas.openxmlformats.org/package/2006/relationships"><Relationship Id="rId1" Type="http://schemas.openxmlformats.org/officeDocument/2006/relationships/tags" Target="../tags/tag1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4.xml"/></Relationships>
</file>

<file path=ppt/slides/_rels/slide115.xml.rels><?xml version='1.0' encoding='UTF-8' standalone='yes'?>
<Relationships xmlns="http://schemas.openxmlformats.org/package/2006/relationships"><Relationship Id="rId1" Type="http://schemas.openxmlformats.org/officeDocument/2006/relationships/tags" Target="../tags/tag1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5.xml"/></Relationships>
</file>

<file path=ppt/slides/_rels/slide116.xml.rels><?xml version='1.0' encoding='UTF-8' standalone='yes'?>
<Relationships xmlns="http://schemas.openxmlformats.org/package/2006/relationships"><Relationship Id="rId1" Type="http://schemas.openxmlformats.org/officeDocument/2006/relationships/tags" Target="../tags/tag1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6.xml"/></Relationships>
</file>

<file path=ppt/slides/_rels/slide117.xml.rels><?xml version='1.0' encoding='UTF-8' standalone='yes'?>
<Relationships xmlns="http://schemas.openxmlformats.org/package/2006/relationships"><Relationship Id="rId1" Type="http://schemas.openxmlformats.org/officeDocument/2006/relationships/tags" Target="../tags/tag1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7.xml"/></Relationships>
</file>

<file path=ppt/slides/_rels/slide118.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8.xml"/></Relationships>
</file>

<file path=ppt/slides/_rels/slide119.xml.rels><?xml version='1.0' encoding='UTF-8' standalone='yes'?>
<Relationships xmlns="http://schemas.openxmlformats.org/package/2006/relationships"><Relationship Id="rId1" Type="http://schemas.openxmlformats.org/officeDocument/2006/relationships/tags" Target="../tags/tag1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9.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s>
</file>

<file path=ppt/slides/_rels/slide120.xml.rels><?xml version='1.0' encoding='UTF-8' standalone='yes'?>
<Relationships xmlns="http://schemas.openxmlformats.org/package/2006/relationships"><Relationship Id="rId1" Type="http://schemas.openxmlformats.org/officeDocument/2006/relationships/tags" Target="../tags/tag1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0.xml"/></Relationships>
</file>

<file path=ppt/slides/_rels/slide121.xml.rels><?xml version='1.0' encoding='UTF-8' standalone='yes'?>
<Relationships xmlns="http://schemas.openxmlformats.org/package/2006/relationships"><Relationship Id="rId1" Type="http://schemas.openxmlformats.org/officeDocument/2006/relationships/tags" Target="../tags/tag1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1.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2.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3.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4.xml"/></Relationships>
</file>

<file path=ppt/slides/_rels/slide125.xml.rels><?xml version='1.0' encoding='UTF-8' standalone='yes'?>
<Relationships xmlns="http://schemas.openxmlformats.org/package/2006/relationships"><Relationship Id="rId1" Type="http://schemas.openxmlformats.org/officeDocument/2006/relationships/tags" Target="../tags/tag1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5.xml"/></Relationships>
</file>

<file path=ppt/slides/_rels/slide126.xml.rels><?xml version='1.0' encoding='UTF-8' standalone='yes'?>
<Relationships xmlns="http://schemas.openxmlformats.org/package/2006/relationships"><Relationship Id="rId1" Type="http://schemas.openxmlformats.org/officeDocument/2006/relationships/tags" Target="../tags/tag1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6.xml"/></Relationships>
</file>

<file path=ppt/slides/_rels/slide127.xml.rels><?xml version='1.0' encoding='UTF-8' standalone='yes'?>
<Relationships xmlns="http://schemas.openxmlformats.org/package/2006/relationships"><Relationship Id="rId1" Type="http://schemas.openxmlformats.org/officeDocument/2006/relationships/tags" Target="../tags/tag1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7.xml"/></Relationships>
</file>

<file path=ppt/slides/_rels/slide128.xml.rels><?xml version='1.0' encoding='UTF-8' standalone='yes'?>
<Relationships xmlns="http://schemas.openxmlformats.org/package/2006/relationships"><Relationship Id="rId1" Type="http://schemas.openxmlformats.org/officeDocument/2006/relationships/tags" Target="../tags/tag1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8.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9.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xml"/><Relationship Id="rId6" Type="http://schemas.openxmlformats.org/officeDocument/2006/relationships/chart" Target="../charts/chart29.xml"/><Relationship Id="rId7" Type="http://schemas.openxmlformats.org/officeDocument/2006/relationships/chart" Target="../charts/chart30.xml"/><Relationship Id="rId8" Type="http://schemas.openxmlformats.org/officeDocument/2006/relationships/chart" Target="../charts/chart31.xml"/></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0.xml"/></Relationships>
</file>

<file path=ppt/slides/_rels/slide131.xml.rels><?xml version='1.0' encoding='UTF-8' standalone='yes'?>
<Relationships xmlns="http://schemas.openxmlformats.org/package/2006/relationships"><Relationship Id="rId1" Type="http://schemas.openxmlformats.org/officeDocument/2006/relationships/tags" Target="../tags/tag1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1.xml"/></Relationships>
</file>

<file path=ppt/slides/_rels/slide132.xml.rels><?xml version='1.0' encoding='UTF-8' standalone='yes'?>
<Relationships xmlns="http://schemas.openxmlformats.org/package/2006/relationships"><Relationship Id="rId1" Type="http://schemas.openxmlformats.org/officeDocument/2006/relationships/tags" Target="../tags/tag1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2.xml"/></Relationships>
</file>

<file path=ppt/slides/_rels/slide133.xml.rels><?xml version='1.0' encoding='UTF-8' standalone='yes'?>
<Relationships xmlns="http://schemas.openxmlformats.org/package/2006/relationships"><Relationship Id="rId1" Type="http://schemas.openxmlformats.org/officeDocument/2006/relationships/tags" Target="../tags/tag1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3.xml"/></Relationships>
</file>

<file path=ppt/slides/_rels/slide134.xml.rels><?xml version='1.0' encoding='UTF-8' standalone='yes'?>
<Relationships xmlns="http://schemas.openxmlformats.org/package/2006/relationships"><Relationship Id="rId1" Type="http://schemas.openxmlformats.org/officeDocument/2006/relationships/tags" Target="../tags/tag1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4.xml"/></Relationships>
</file>

<file path=ppt/slides/_rels/slide135.xml.rels><?xml version='1.0' encoding='UTF-8' standalone='yes'?>
<Relationships xmlns="http://schemas.openxmlformats.org/package/2006/relationships"><Relationship Id="rId1" Type="http://schemas.openxmlformats.org/officeDocument/2006/relationships/tags" Target="../tags/tag1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5.xml"/></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6.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7.xml"/></Relationships>
</file>

<file path=ppt/slides/_rels/slide138.xml.rels><?xml version='1.0' encoding='UTF-8' standalone='yes'?>
<Relationships xmlns="http://schemas.openxmlformats.org/package/2006/relationships"><Relationship Id="rId1" Type="http://schemas.openxmlformats.org/officeDocument/2006/relationships/tags" Target="../tags/tag1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8.xml"/></Relationships>
</file>

<file path=ppt/slides/_rels/slide139.xml.rels><?xml version='1.0' encoding='UTF-8' standalone='yes'?>
<Relationships xmlns="http://schemas.openxmlformats.org/package/2006/relationships"><Relationship Id="rId1" Type="http://schemas.openxmlformats.org/officeDocument/2006/relationships/tags" Target="../tags/tag1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9.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xml"/><Relationship Id="rId6" Type="http://schemas.openxmlformats.org/officeDocument/2006/relationships/chart" Target="../charts/chart33.xml"/><Relationship Id="rId7" Type="http://schemas.openxmlformats.org/officeDocument/2006/relationships/chart" Target="../charts/chart34.xml"/><Relationship Id="rId8" Type="http://schemas.openxmlformats.org/officeDocument/2006/relationships/chart" Target="../charts/chart35.xml"/></Relationships>
</file>

<file path=ppt/slides/_rels/slide140.xml.rels><?xml version='1.0' encoding='UTF-8' standalone='yes'?>
<Relationships xmlns="http://schemas.openxmlformats.org/package/2006/relationships"><Relationship Id="rId1" Type="http://schemas.openxmlformats.org/officeDocument/2006/relationships/tags" Target="../tags/tag1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0.xml"/></Relationships>
</file>

<file path=ppt/slides/_rels/slide141.xml.rels><?xml version='1.0' encoding='UTF-8' standalone='yes'?>
<Relationships xmlns="http://schemas.openxmlformats.org/package/2006/relationships"><Relationship Id="rId1" Type="http://schemas.openxmlformats.org/officeDocument/2006/relationships/tags" Target="../tags/tag1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1.xml"/></Relationships>
</file>

<file path=ppt/slides/_rels/slide142.xml.rels><?xml version='1.0' encoding='UTF-8' standalone='yes'?>
<Relationships xmlns="http://schemas.openxmlformats.org/package/2006/relationships"><Relationship Id="rId1" Type="http://schemas.openxmlformats.org/officeDocument/2006/relationships/tags" Target="../tags/tag1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2.xml"/></Relationships>
</file>

<file path=ppt/slides/_rels/slide143.xml.rels><?xml version='1.0' encoding='UTF-8' standalone='yes'?>
<Relationships xmlns="http://schemas.openxmlformats.org/package/2006/relationships"><Relationship Id="rId1" Type="http://schemas.openxmlformats.org/officeDocument/2006/relationships/tags" Target="../tags/tag1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3.xml"/></Relationships>
</file>

<file path=ppt/slides/_rels/slide144.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4.xml"/></Relationships>
</file>

<file path=ppt/slides/_rels/slide145.xml.rels><?xml version='1.0' encoding='UTF-8' standalone='yes'?>
<Relationships xmlns="http://schemas.openxmlformats.org/package/2006/relationships"><Relationship Id="rId1" Type="http://schemas.openxmlformats.org/officeDocument/2006/relationships/tags" Target="../tags/tag1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5.xml"/></Relationships>
</file>

<file path=ppt/slides/_rels/slide146.xml.rels><?xml version='1.0' encoding='UTF-8' standalone='yes'?>
<Relationships xmlns="http://schemas.openxmlformats.org/package/2006/relationships"><Relationship Id="rId1" Type="http://schemas.openxmlformats.org/officeDocument/2006/relationships/tags" Target="../tags/tag1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6.xml"/></Relationships>
</file>

<file path=ppt/slides/_rels/slide147.xml.rels><?xml version='1.0' encoding='UTF-8' standalone='yes'?>
<Relationships xmlns="http://schemas.openxmlformats.org/package/2006/relationships"><Relationship Id="rId1" Type="http://schemas.openxmlformats.org/officeDocument/2006/relationships/tags" Target="../tags/tag1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7.xml"/></Relationships>
</file>

<file path=ppt/slides/_rels/slide148.xml.rels><?xml version='1.0' encoding='UTF-8' standalone='yes'?>
<Relationships xmlns="http://schemas.openxmlformats.org/package/2006/relationships"><Relationship Id="rId1" Type="http://schemas.openxmlformats.org/officeDocument/2006/relationships/tags" Target="../tags/tag1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8.xml"/></Relationships>
</file>

<file path=ppt/slides/_rels/slide149.xml.rels><?xml version='1.0' encoding='UTF-8' standalone='yes'?>
<Relationships xmlns="http://schemas.openxmlformats.org/package/2006/relationships"><Relationship Id="rId1" Type="http://schemas.openxmlformats.org/officeDocument/2006/relationships/tags" Target="../tags/tag1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9.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xml"/><Relationship Id="rId6" Type="http://schemas.openxmlformats.org/officeDocument/2006/relationships/chart" Target="../charts/chart37.xml"/><Relationship Id="rId7" Type="http://schemas.openxmlformats.org/officeDocument/2006/relationships/chart" Target="../charts/chart38.xml"/></Relationships>
</file>

<file path=ppt/slides/_rels/slide150.xml.rels><?xml version='1.0' encoding='UTF-8' standalone='yes'?>
<Relationships xmlns="http://schemas.openxmlformats.org/package/2006/relationships"><Relationship Id="rId1" Type="http://schemas.openxmlformats.org/officeDocument/2006/relationships/tags" Target="../tags/tag1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0.xml"/></Relationships>
</file>

<file path=ppt/slides/_rels/slide151.xml.rels><?xml version='1.0' encoding='UTF-8' standalone='yes'?>
<Relationships xmlns="http://schemas.openxmlformats.org/package/2006/relationships"><Relationship Id="rId1" Type="http://schemas.openxmlformats.org/officeDocument/2006/relationships/tags" Target="../tags/tag1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1.xml"/></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2.xml"/></Relationships>
</file>

<file path=ppt/slides/_rels/slide153.xml.rels><?xml version='1.0' encoding='UTF-8' standalone='yes'?>
<Relationships xmlns="http://schemas.openxmlformats.org/package/2006/relationships"><Relationship Id="rId1" Type="http://schemas.openxmlformats.org/officeDocument/2006/relationships/tags" Target="../tags/tag1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3.xml"/></Relationships>
</file>

<file path=ppt/slides/_rels/slide154.xml.rels><?xml version='1.0' encoding='UTF-8' standalone='yes'?>
<Relationships xmlns="http://schemas.openxmlformats.org/package/2006/relationships"><Relationship Id="rId1" Type="http://schemas.openxmlformats.org/officeDocument/2006/relationships/tags" Target="../tags/tag1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4.xml"/></Relationships>
</file>

<file path=ppt/slides/_rels/slide155.xml.rels><?xml version='1.0' encoding='UTF-8' standalone='yes'?>
<Relationships xmlns="http://schemas.openxmlformats.org/package/2006/relationships"><Relationship Id="rId1" Type="http://schemas.openxmlformats.org/officeDocument/2006/relationships/tags" Target="../tags/tag1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5.xml"/></Relationships>
</file>

<file path=ppt/slides/_rels/slide156.xml.rels><?xml version='1.0' encoding='UTF-8' standalone='yes'?>
<Relationships xmlns="http://schemas.openxmlformats.org/package/2006/relationships"><Relationship Id="rId1" Type="http://schemas.openxmlformats.org/officeDocument/2006/relationships/tags" Target="../tags/tag1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6.xml"/></Relationships>
</file>

<file path=ppt/slides/_rels/slide157.xml.rels><?xml version='1.0' encoding='UTF-8' standalone='yes'?>
<Relationships xmlns="http://schemas.openxmlformats.org/package/2006/relationships"><Relationship Id="rId1" Type="http://schemas.openxmlformats.org/officeDocument/2006/relationships/tags" Target="../tags/tag1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7.xml"/></Relationships>
</file>

<file path=ppt/slides/_rels/slide158.xml.rels><?xml version='1.0' encoding='UTF-8' standalone='yes'?>
<Relationships xmlns="http://schemas.openxmlformats.org/package/2006/relationships"><Relationship Id="rId1" Type="http://schemas.openxmlformats.org/officeDocument/2006/relationships/tags" Target="../tags/tag1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8.xml"/></Relationships>
</file>

<file path=ppt/slides/_rels/slide159.xml.rels><?xml version='1.0' encoding='UTF-8' standalone='yes'?>
<Relationships xmlns="http://schemas.openxmlformats.org/package/2006/relationships"><Relationship Id="rId1" Type="http://schemas.openxmlformats.org/officeDocument/2006/relationships/tags" Target="../tags/tag1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9.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xml"/><Relationship Id="rId6" Type="http://schemas.openxmlformats.org/officeDocument/2006/relationships/chart" Target="../charts/chart40.xml"/><Relationship Id="rId7" Type="http://schemas.openxmlformats.org/officeDocument/2006/relationships/chart" Target="../charts/chart41.xml"/></Relationships>
</file>

<file path=ppt/slides/_rels/slide160.xml.rels><?xml version='1.0' encoding='UTF-8' standalone='yes'?>
<Relationships xmlns="http://schemas.openxmlformats.org/package/2006/relationships"><Relationship Id="rId1" Type="http://schemas.openxmlformats.org/officeDocument/2006/relationships/tags" Target="../tags/tag1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0.xml"/></Relationships>
</file>

<file path=ppt/slides/_rels/slide161.xml.rels><?xml version='1.0' encoding='UTF-8' standalone='yes'?>
<Relationships xmlns="http://schemas.openxmlformats.org/package/2006/relationships"><Relationship Id="rId1" Type="http://schemas.openxmlformats.org/officeDocument/2006/relationships/tags" Target="../tags/tag1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1.xml"/></Relationships>
</file>

<file path=ppt/slides/_rels/slide162.xml.rels><?xml version='1.0' encoding='UTF-8' standalone='yes'?>
<Relationships xmlns="http://schemas.openxmlformats.org/package/2006/relationships"><Relationship Id="rId1" Type="http://schemas.openxmlformats.org/officeDocument/2006/relationships/tags" Target="../tags/tag1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2.xml"/></Relationships>
</file>

<file path=ppt/slides/_rels/slide163.xml.rels><?xml version='1.0' encoding='UTF-8' standalone='yes'?>
<Relationships xmlns="http://schemas.openxmlformats.org/package/2006/relationships"><Relationship Id="rId1" Type="http://schemas.openxmlformats.org/officeDocument/2006/relationships/tags" Target="../tags/tag1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3.xml"/></Relationships>
</file>

<file path=ppt/slides/_rels/slide164.xml.rels><?xml version='1.0' encoding='UTF-8' standalone='yes'?>
<Relationships xmlns="http://schemas.openxmlformats.org/package/2006/relationships"><Relationship Id="rId1" Type="http://schemas.openxmlformats.org/officeDocument/2006/relationships/tags" Target="../tags/tag1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4.xml"/></Relationships>
</file>

<file path=ppt/slides/_rels/slide165.xml.rels><?xml version='1.0' encoding='UTF-8' standalone='yes'?>
<Relationships xmlns="http://schemas.openxmlformats.org/package/2006/relationships"><Relationship Id="rId1" Type="http://schemas.openxmlformats.org/officeDocument/2006/relationships/tags" Target="../tags/tag1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5.xml"/></Relationships>
</file>

<file path=ppt/slides/_rels/slide166.xml.rels><?xml version='1.0' encoding='UTF-8' standalone='yes'?>
<Relationships xmlns="http://schemas.openxmlformats.org/package/2006/relationships"><Relationship Id="rId1" Type="http://schemas.openxmlformats.org/officeDocument/2006/relationships/tags" Target="../tags/tag1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6.xml"/></Relationships>
</file>

<file path=ppt/slides/_rels/slide167.xml.rels><?xml version='1.0' encoding='UTF-8' standalone='yes'?>
<Relationships xmlns="http://schemas.openxmlformats.org/package/2006/relationships"><Relationship Id="rId1" Type="http://schemas.openxmlformats.org/officeDocument/2006/relationships/tags" Target="../tags/tag1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7.xml"/></Relationships>
</file>

<file path=ppt/slides/_rels/slide168.xml.rels><?xml version='1.0' encoding='UTF-8' standalone='yes'?>
<Relationships xmlns="http://schemas.openxmlformats.org/package/2006/relationships"><Relationship Id="rId1" Type="http://schemas.openxmlformats.org/officeDocument/2006/relationships/tags" Target="../tags/tag1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8.xml"/></Relationships>
</file>

<file path=ppt/slides/_rels/slide169.xml.rels><?xml version='1.0' encoding='UTF-8' standalone='yes'?>
<Relationships xmlns="http://schemas.openxmlformats.org/package/2006/relationships"><Relationship Id="rId1" Type="http://schemas.openxmlformats.org/officeDocument/2006/relationships/tags" Target="../tags/tag1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9.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xml"/><Relationship Id="rId6" Type="http://schemas.openxmlformats.org/officeDocument/2006/relationships/chart" Target="../charts/chart43.xml"/><Relationship Id="rId7" Type="http://schemas.openxmlformats.org/officeDocument/2006/relationships/chart" Target="../charts/chart44.xml"/></Relationships>
</file>

<file path=ppt/slides/_rels/slide170.xml.rels><?xml version='1.0' encoding='UTF-8' standalone='yes'?>
<Relationships xmlns="http://schemas.openxmlformats.org/package/2006/relationships"><Relationship Id="rId1" Type="http://schemas.openxmlformats.org/officeDocument/2006/relationships/tags" Target="../tags/tag1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0.xml"/></Relationships>
</file>

<file path=ppt/slides/_rels/slide171.xml.rels><?xml version='1.0' encoding='UTF-8' standalone='yes'?>
<Relationships xmlns="http://schemas.openxmlformats.org/package/2006/relationships"><Relationship Id="rId1" Type="http://schemas.openxmlformats.org/officeDocument/2006/relationships/tags" Target="../tags/tag1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1.xml"/></Relationships>
</file>

<file path=ppt/slides/_rels/slide172.xml.rels><?xml version='1.0' encoding='UTF-8' standalone='yes'?>
<Relationships xmlns="http://schemas.openxmlformats.org/package/2006/relationships"><Relationship Id="rId1" Type="http://schemas.openxmlformats.org/officeDocument/2006/relationships/tags" Target="../tags/tag1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2.xml"/></Relationships>
</file>

<file path=ppt/slides/_rels/slide173.xml.rels><?xml version='1.0' encoding='UTF-8' standalone='yes'?>
<Relationships xmlns="http://schemas.openxmlformats.org/package/2006/relationships"><Relationship Id="rId1" Type="http://schemas.openxmlformats.org/officeDocument/2006/relationships/tags" Target="../tags/tag2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3.xml"/></Relationships>
</file>

<file path=ppt/slides/_rels/slide174.xml.rels><?xml version='1.0' encoding='UTF-8' standalone='yes'?>
<Relationships xmlns="http://schemas.openxmlformats.org/package/2006/relationships"><Relationship Id="rId1" Type="http://schemas.openxmlformats.org/officeDocument/2006/relationships/tags" Target="../tags/tag2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4.xml"/></Relationships>
</file>

<file path=ppt/slides/_rels/slide175.xml.rels><?xml version='1.0' encoding='UTF-8' standalone='yes'?>
<Relationships xmlns="http://schemas.openxmlformats.org/package/2006/relationships"><Relationship Id="rId1" Type="http://schemas.openxmlformats.org/officeDocument/2006/relationships/tags" Target="../tags/tag2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5.xml"/></Relationships>
</file>

<file path=ppt/slides/_rels/slide176.xml.rels><?xml version='1.0' encoding='UTF-8' standalone='yes'?>
<Relationships xmlns="http://schemas.openxmlformats.org/package/2006/relationships"><Relationship Id="rId1" Type="http://schemas.openxmlformats.org/officeDocument/2006/relationships/tags" Target="../tags/tag2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6.xml"/></Relationships>
</file>

<file path=ppt/slides/_rels/slide177.xml.rels><?xml version='1.0' encoding='UTF-8' standalone='yes'?>
<Relationships xmlns="http://schemas.openxmlformats.org/package/2006/relationships"><Relationship Id="rId1" Type="http://schemas.openxmlformats.org/officeDocument/2006/relationships/tags" Target="../tags/tag2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7.xml"/></Relationships>
</file>

<file path=ppt/slides/_rels/slide178.xml.rels><?xml version='1.0' encoding='UTF-8' standalone='yes'?>
<Relationships xmlns="http://schemas.openxmlformats.org/package/2006/relationships"><Relationship Id="rId1" Type="http://schemas.openxmlformats.org/officeDocument/2006/relationships/tags" Target="../tags/tag2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8.xml"/></Relationships>
</file>

<file path=ppt/slides/_rels/slide179.xml.rels><?xml version='1.0' encoding='UTF-8' standalone='yes'?>
<Relationships xmlns="http://schemas.openxmlformats.org/package/2006/relationships"><Relationship Id="rId1" Type="http://schemas.openxmlformats.org/officeDocument/2006/relationships/tags" Target="../tags/tag2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9.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xml"/><Relationship Id="rId6" Type="http://schemas.openxmlformats.org/officeDocument/2006/relationships/chart" Target="../charts/chart46.xml"/><Relationship Id="rId7" Type="http://schemas.openxmlformats.org/officeDocument/2006/relationships/chart" Target="../charts/chart47.xml"/></Relationships>
</file>

<file path=ppt/slides/_rels/slide180.xml.rels><?xml version='1.0' encoding='UTF-8' standalone='yes'?>
<Relationships xmlns="http://schemas.openxmlformats.org/package/2006/relationships"><Relationship Id="rId1" Type="http://schemas.openxmlformats.org/officeDocument/2006/relationships/tags" Target="../tags/tag2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0.xml"/></Relationships>
</file>

<file path=ppt/slides/_rels/slide181.xml.rels><?xml version='1.0' encoding='UTF-8' standalone='yes'?>
<Relationships xmlns="http://schemas.openxmlformats.org/package/2006/relationships"><Relationship Id="rId1" Type="http://schemas.openxmlformats.org/officeDocument/2006/relationships/tags" Target="../tags/tag2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1.xml"/></Relationships>
</file>

<file path=ppt/slides/_rels/slide182.xml.rels><?xml version='1.0' encoding='UTF-8' standalone='yes'?>
<Relationships xmlns="http://schemas.openxmlformats.org/package/2006/relationships"><Relationship Id="rId1" Type="http://schemas.openxmlformats.org/officeDocument/2006/relationships/tags" Target="../tags/tag2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2.xml"/></Relationships>
</file>

<file path=ppt/slides/_rels/slide183.xml.rels><?xml version='1.0' encoding='UTF-8' standalone='yes'?>
<Relationships xmlns="http://schemas.openxmlformats.org/package/2006/relationships"><Relationship Id="rId1" Type="http://schemas.openxmlformats.org/officeDocument/2006/relationships/tags" Target="../tags/tag2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3.xml"/></Relationships>
</file>

<file path=ppt/slides/_rels/slide184.xml.rels><?xml version='1.0' encoding='UTF-8' standalone='yes'?>
<Relationships xmlns="http://schemas.openxmlformats.org/package/2006/relationships"><Relationship Id="rId1" Type="http://schemas.openxmlformats.org/officeDocument/2006/relationships/tags" Target="../tags/tag2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4.xml"/></Relationships>
</file>

<file path=ppt/slides/_rels/slide185.xml.rels><?xml version='1.0' encoding='UTF-8' standalone='yes'?>
<Relationships xmlns="http://schemas.openxmlformats.org/package/2006/relationships"><Relationship Id="rId1" Type="http://schemas.openxmlformats.org/officeDocument/2006/relationships/tags" Target="../tags/tag2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5.xml"/></Relationships>
</file>

<file path=ppt/slides/_rels/slide186.xml.rels><?xml version='1.0' encoding='UTF-8' standalone='yes'?>
<Relationships xmlns="http://schemas.openxmlformats.org/package/2006/relationships"><Relationship Id="rId1" Type="http://schemas.openxmlformats.org/officeDocument/2006/relationships/tags" Target="../tags/tag2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6.xml"/></Relationships>
</file>

<file path=ppt/slides/_rels/slide187.xml.rels><?xml version='1.0' encoding='UTF-8' standalone='yes'?>
<Relationships xmlns="http://schemas.openxmlformats.org/package/2006/relationships"><Relationship Id="rId1" Type="http://schemas.openxmlformats.org/officeDocument/2006/relationships/tags" Target="../tags/tag2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7.xml"/></Relationships>
</file>

<file path=ppt/slides/_rels/slide188.xml.rels><?xml version='1.0' encoding='UTF-8' standalone='yes'?>
<Relationships xmlns="http://schemas.openxmlformats.org/package/2006/relationships"><Relationship Id="rId1" Type="http://schemas.openxmlformats.org/officeDocument/2006/relationships/tags" Target="../tags/tag2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8.xml"/></Relationships>
</file>

<file path=ppt/slides/_rels/slide189.xml.rels><?xml version='1.0' encoding='UTF-8' standalone='yes'?>
<Relationships xmlns="http://schemas.openxmlformats.org/package/2006/relationships"><Relationship Id="rId1" Type="http://schemas.openxmlformats.org/officeDocument/2006/relationships/tags" Target="../tags/tag2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9.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xml"/><Relationship Id="rId6" Type="http://schemas.openxmlformats.org/officeDocument/2006/relationships/chart" Target="../charts/chart49.xml"/><Relationship Id="rId7" Type="http://schemas.openxmlformats.org/officeDocument/2006/relationships/chart" Target="../charts/chart50.xml"/></Relationships>
</file>

<file path=ppt/slides/_rels/slide190.xml.rels><?xml version='1.0' encoding='UTF-8' standalone='yes'?>
<Relationships xmlns="http://schemas.openxmlformats.org/package/2006/relationships"><Relationship Id="rId1" Type="http://schemas.openxmlformats.org/officeDocument/2006/relationships/tags" Target="../tags/tag2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0.xml"/></Relationships>
</file>

<file path=ppt/slides/_rels/slide191.xml.rels><?xml version='1.0' encoding='UTF-8' standalone='yes'?>
<Relationships xmlns="http://schemas.openxmlformats.org/package/2006/relationships"><Relationship Id="rId1" Type="http://schemas.openxmlformats.org/officeDocument/2006/relationships/tags" Target="../tags/tag2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1.xml"/></Relationships>
</file>

<file path=ppt/slides/_rels/slide192.xml.rels><?xml version='1.0' encoding='UTF-8' standalone='yes'?>
<Relationships xmlns="http://schemas.openxmlformats.org/package/2006/relationships"><Relationship Id="rId1" Type="http://schemas.openxmlformats.org/officeDocument/2006/relationships/tags" Target="../tags/tag2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2.xml"/></Relationships>
</file>

<file path=ppt/slides/_rels/slide193.xml.rels><?xml version='1.0' encoding='UTF-8' standalone='yes'?>
<Relationships xmlns="http://schemas.openxmlformats.org/package/2006/relationships"><Relationship Id="rId1" Type="http://schemas.openxmlformats.org/officeDocument/2006/relationships/tags" Target="../tags/tag2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3.xml"/></Relationships>
</file>

<file path=ppt/slides/_rels/slide194.xml.rels><?xml version='1.0' encoding='UTF-8' standalone='yes'?>
<Relationships xmlns="http://schemas.openxmlformats.org/package/2006/relationships"><Relationship Id="rId1" Type="http://schemas.openxmlformats.org/officeDocument/2006/relationships/tags" Target="../tags/tag2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4.xml"/></Relationships>
</file>

<file path=ppt/slides/_rels/slide195.xml.rels><?xml version='1.0' encoding='UTF-8' standalone='yes'?>
<Relationships xmlns="http://schemas.openxmlformats.org/package/2006/relationships"><Relationship Id="rId1" Type="http://schemas.openxmlformats.org/officeDocument/2006/relationships/tags" Target="../tags/tag2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5.xml"/></Relationships>
</file>

<file path=ppt/slides/_rels/slide196.xml.rels><?xml version='1.0' encoding='UTF-8' standalone='yes'?>
<Relationships xmlns="http://schemas.openxmlformats.org/package/2006/relationships"><Relationship Id="rId1" Type="http://schemas.openxmlformats.org/officeDocument/2006/relationships/tags" Target="../tags/tag2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6.xml"/></Relationships>
</file>

<file path=ppt/slides/_rels/slide197.xml.rels><?xml version='1.0' encoding='UTF-8' standalone='yes'?>
<Relationships xmlns="http://schemas.openxmlformats.org/package/2006/relationships"><Relationship Id="rId1" Type="http://schemas.openxmlformats.org/officeDocument/2006/relationships/tags" Target="../tags/tag2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7.xml"/></Relationships>
</file>

<file path=ppt/slides/_rels/slide198.xml.rels><?xml version='1.0' encoding='UTF-8' standalone='yes'?>
<Relationships xmlns="http://schemas.openxmlformats.org/package/2006/relationships"><Relationship Id="rId1" Type="http://schemas.openxmlformats.org/officeDocument/2006/relationships/tags" Target="../tags/tag2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8.xml"/></Relationships>
</file>

<file path=ppt/slides/_rels/slide199.xml.rels><?xml version='1.0' encoding='UTF-8' standalone='yes'?>
<Relationships xmlns="http://schemas.openxmlformats.org/package/2006/relationships"><Relationship Id="rId1" Type="http://schemas.openxmlformats.org/officeDocument/2006/relationships/tags" Target="../tags/tag2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xml"/><Relationship Id="rId6" Type="http://schemas.openxmlformats.org/officeDocument/2006/relationships/chart" Target="../charts/chart52.xml"/><Relationship Id="rId7" Type="http://schemas.openxmlformats.org/officeDocument/2006/relationships/chart" Target="../charts/chart53.xml"/></Relationships>
</file>

<file path=ppt/slides/_rels/slide200.xml.rels><?xml version='1.0' encoding='UTF-8' standalone='yes'?>
<Relationships xmlns="http://schemas.openxmlformats.org/package/2006/relationships"><Relationship Id="rId1" Type="http://schemas.openxmlformats.org/officeDocument/2006/relationships/tags" Target="../tags/tag2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0.xml"/></Relationships>
</file>

<file path=ppt/slides/_rels/slide201.xml.rels><?xml version='1.0' encoding='UTF-8' standalone='yes'?>
<Relationships xmlns="http://schemas.openxmlformats.org/package/2006/relationships"><Relationship Id="rId1" Type="http://schemas.openxmlformats.org/officeDocument/2006/relationships/tags" Target="../tags/tag2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1.xml"/></Relationships>
</file>

<file path=ppt/slides/_rels/slide202.xml.rels><?xml version='1.0' encoding='UTF-8' standalone='yes'?>
<Relationships xmlns="http://schemas.openxmlformats.org/package/2006/relationships"><Relationship Id="rId1" Type="http://schemas.openxmlformats.org/officeDocument/2006/relationships/tags" Target="../tags/tag2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2.xml"/></Relationships>
</file>

<file path=ppt/slides/_rels/slide203.xml.rels><?xml version='1.0' encoding='UTF-8' standalone='yes'?>
<Relationships xmlns="http://schemas.openxmlformats.org/package/2006/relationships"><Relationship Id="rId1" Type="http://schemas.openxmlformats.org/officeDocument/2006/relationships/tags" Target="../tags/tag2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3.xml"/></Relationships>
</file>

<file path=ppt/slides/_rels/slide204.xml.rels><?xml version='1.0' encoding='UTF-8' standalone='yes'?>
<Relationships xmlns="http://schemas.openxmlformats.org/package/2006/relationships"><Relationship Id="rId1" Type="http://schemas.openxmlformats.org/officeDocument/2006/relationships/tags" Target="../tags/tag2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4.xml"/></Relationships>
</file>

<file path=ppt/slides/_rels/slide205.xml.rels><?xml version='1.0' encoding='UTF-8' standalone='yes'?>
<Relationships xmlns="http://schemas.openxmlformats.org/package/2006/relationships"><Relationship Id="rId1" Type="http://schemas.openxmlformats.org/officeDocument/2006/relationships/tags" Target="../tags/tag2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5.xml"/></Relationships>
</file>

<file path=ppt/slides/_rels/slide206.xml.rels><?xml version='1.0' encoding='UTF-8' standalone='yes'?>
<Relationships xmlns="http://schemas.openxmlformats.org/package/2006/relationships"><Relationship Id="rId1" Type="http://schemas.openxmlformats.org/officeDocument/2006/relationships/tags" Target="../tags/tag2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6.xml"/></Relationships>
</file>

<file path=ppt/slides/_rels/slide207.xml.rels><?xml version='1.0' encoding='UTF-8' standalone='yes'?>
<Relationships xmlns="http://schemas.openxmlformats.org/package/2006/relationships"><Relationship Id="rId1" Type="http://schemas.openxmlformats.org/officeDocument/2006/relationships/tags" Target="../tags/tag2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7.xml"/></Relationships>
</file>

<file path=ppt/slides/_rels/slide208.xml.rels><?xml version='1.0' encoding='UTF-8' standalone='yes'?>
<Relationships xmlns="http://schemas.openxmlformats.org/package/2006/relationships"><Relationship Id="rId1" Type="http://schemas.openxmlformats.org/officeDocument/2006/relationships/tags" Target="../tags/tag2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8.xml"/></Relationships>
</file>

<file path=ppt/slides/_rels/slide209.xml.rels><?xml version='1.0' encoding='UTF-8' standalone='yes'?>
<Relationships xmlns="http://schemas.openxmlformats.org/package/2006/relationships"><Relationship Id="rId1" Type="http://schemas.openxmlformats.org/officeDocument/2006/relationships/tags" Target="../tags/tag2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9.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xml"/><Relationship Id="rId6" Type="http://schemas.openxmlformats.org/officeDocument/2006/relationships/chart" Target="../charts/chart55.xml"/><Relationship Id="rId7" Type="http://schemas.openxmlformats.org/officeDocument/2006/relationships/chart" Target="../charts/chart56.xml"/></Relationships>
</file>

<file path=ppt/slides/_rels/slide210.xml.rels><?xml version='1.0' encoding='UTF-8' standalone='yes'?>
<Relationships xmlns="http://schemas.openxmlformats.org/package/2006/relationships"><Relationship Id="rId1" Type="http://schemas.openxmlformats.org/officeDocument/2006/relationships/tags" Target="../tags/tag2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0.xml"/></Relationships>
</file>

<file path=ppt/slides/_rels/slide211.xml.rels><?xml version='1.0' encoding='UTF-8' standalone='yes'?>
<Relationships xmlns="http://schemas.openxmlformats.org/package/2006/relationships"><Relationship Id="rId1" Type="http://schemas.openxmlformats.org/officeDocument/2006/relationships/tags" Target="../tags/tag2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1.xml"/></Relationships>
</file>

<file path=ppt/slides/_rels/slide212.xml.rels><?xml version='1.0' encoding='UTF-8' standalone='yes'?>
<Relationships xmlns="http://schemas.openxmlformats.org/package/2006/relationships"><Relationship Id="rId1" Type="http://schemas.openxmlformats.org/officeDocument/2006/relationships/tags" Target="../tags/tag2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2.xml"/></Relationships>
</file>

<file path=ppt/slides/_rels/slide213.xml.rels><?xml version='1.0' encoding='UTF-8' standalone='yes'?>
<Relationships xmlns="http://schemas.openxmlformats.org/package/2006/relationships"><Relationship Id="rId1" Type="http://schemas.openxmlformats.org/officeDocument/2006/relationships/tags" Target="../tags/tag2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3.xml"/></Relationships>
</file>

<file path=ppt/slides/_rels/slide214.xml.rels><?xml version='1.0' encoding='UTF-8' standalone='yes'?>
<Relationships xmlns="http://schemas.openxmlformats.org/package/2006/relationships"><Relationship Id="rId1" Type="http://schemas.openxmlformats.org/officeDocument/2006/relationships/tags" Target="../tags/tag2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4.xml"/></Relationships>
</file>

<file path=ppt/slides/_rels/slide215.xml.rels><?xml version='1.0' encoding='UTF-8' standalone='yes'?>
<Relationships xmlns="http://schemas.openxmlformats.org/package/2006/relationships"><Relationship Id="rId1" Type="http://schemas.openxmlformats.org/officeDocument/2006/relationships/tags" Target="../tags/tag2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5.xml"/></Relationships>
</file>

<file path=ppt/slides/_rels/slide216.xml.rels><?xml version='1.0' encoding='UTF-8' standalone='yes'?>
<Relationships xmlns="http://schemas.openxmlformats.org/package/2006/relationships"><Relationship Id="rId1" Type="http://schemas.openxmlformats.org/officeDocument/2006/relationships/tags" Target="../tags/tag2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6.xml"/></Relationships>
</file>

<file path=ppt/slides/_rels/slide217.xml.rels><?xml version='1.0' encoding='UTF-8' standalone='yes'?>
<Relationships xmlns="http://schemas.openxmlformats.org/package/2006/relationships"><Relationship Id="rId1" Type="http://schemas.openxmlformats.org/officeDocument/2006/relationships/tags" Target="../tags/tag2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7.xml"/></Relationships>
</file>

<file path=ppt/slides/_rels/slide218.xml.rels><?xml version='1.0' encoding='UTF-8' standalone='yes'?>
<Relationships xmlns="http://schemas.openxmlformats.org/package/2006/relationships"><Relationship Id="rId1" Type="http://schemas.openxmlformats.org/officeDocument/2006/relationships/tags" Target="../tags/tag2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8.xml"/></Relationships>
</file>

<file path=ppt/slides/_rels/slide219.xml.rels><?xml version='1.0' encoding='UTF-8' standalone='yes'?>
<Relationships xmlns="http://schemas.openxmlformats.org/package/2006/relationships"><Relationship Id="rId1" Type="http://schemas.openxmlformats.org/officeDocument/2006/relationships/tags" Target="../tags/tag2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9.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xml"/><Relationship Id="rId6" Type="http://schemas.openxmlformats.org/officeDocument/2006/relationships/chart" Target="../charts/chart58.xml"/><Relationship Id="rId7" Type="http://schemas.openxmlformats.org/officeDocument/2006/relationships/chart" Target="../charts/chart59.xml"/></Relationships>
</file>

<file path=ppt/slides/_rels/slide220.xml.rels><?xml version='1.0' encoding='UTF-8' standalone='yes'?>
<Relationships xmlns="http://schemas.openxmlformats.org/package/2006/relationships"><Relationship Id="rId1" Type="http://schemas.openxmlformats.org/officeDocument/2006/relationships/tags" Target="../tags/tag2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0.xml"/></Relationships>
</file>

<file path=ppt/slides/_rels/slide221.xml.rels><?xml version='1.0' encoding='UTF-8' standalone='yes'?>
<Relationships xmlns="http://schemas.openxmlformats.org/package/2006/relationships"><Relationship Id="rId1" Type="http://schemas.openxmlformats.org/officeDocument/2006/relationships/tags" Target="../tags/tag2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1.xml"/></Relationships>
</file>

<file path=ppt/slides/_rels/slide222.xml.rels><?xml version='1.0' encoding='UTF-8' standalone='yes'?>
<Relationships xmlns="http://schemas.openxmlformats.org/package/2006/relationships"><Relationship Id="rId1" Type="http://schemas.openxmlformats.org/officeDocument/2006/relationships/tags" Target="../tags/tag2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2.xml"/></Relationships>
</file>

<file path=ppt/slides/_rels/slide223.xml.rels><?xml version='1.0' encoding='UTF-8' standalone='yes'?>
<Relationships xmlns="http://schemas.openxmlformats.org/package/2006/relationships"><Relationship Id="rId1" Type="http://schemas.openxmlformats.org/officeDocument/2006/relationships/tags" Target="../tags/tag2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3.xml"/></Relationships>
</file>

<file path=ppt/slides/_rels/slide224.xml.rels><?xml version='1.0' encoding='UTF-8' standalone='yes'?>
<Relationships xmlns="http://schemas.openxmlformats.org/package/2006/relationships"><Relationship Id="rId1" Type="http://schemas.openxmlformats.org/officeDocument/2006/relationships/tags" Target="../tags/tag2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4.xml"/></Relationships>
</file>

<file path=ppt/slides/_rels/slide225.xml.rels><?xml version='1.0' encoding='UTF-8' standalone='yes'?>
<Relationships xmlns="http://schemas.openxmlformats.org/package/2006/relationships"><Relationship Id="rId1" Type="http://schemas.openxmlformats.org/officeDocument/2006/relationships/tags" Target="../tags/tag2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5.xml"/></Relationships>
</file>

<file path=ppt/slides/_rels/slide226.xml.rels><?xml version='1.0' encoding='UTF-8' standalone='yes'?>
<Relationships xmlns="http://schemas.openxmlformats.org/package/2006/relationships"><Relationship Id="rId1" Type="http://schemas.openxmlformats.org/officeDocument/2006/relationships/tags" Target="../tags/tag2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6.xml"/></Relationships>
</file>

<file path=ppt/slides/_rels/slide227.xml.rels><?xml version='1.0' encoding='UTF-8' standalone='yes'?>
<Relationships xmlns="http://schemas.openxmlformats.org/package/2006/relationships"><Relationship Id="rId1" Type="http://schemas.openxmlformats.org/officeDocument/2006/relationships/tags" Target="../tags/tag2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7.xml"/></Relationships>
</file>

<file path=ppt/slides/_rels/slide228.xml.rels><?xml version='1.0' encoding='UTF-8' standalone='yes'?>
<Relationships xmlns="http://schemas.openxmlformats.org/package/2006/relationships"><Relationship Id="rId1" Type="http://schemas.openxmlformats.org/officeDocument/2006/relationships/tags" Target="../tags/tag2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8.xml"/></Relationships>
</file>

<file path=ppt/slides/_rels/slide229.xml.rels><?xml version='1.0' encoding='UTF-8' standalone='yes'?>
<Relationships xmlns="http://schemas.openxmlformats.org/package/2006/relationships"><Relationship Id="rId1" Type="http://schemas.openxmlformats.org/officeDocument/2006/relationships/tags" Target="../tags/tag2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9.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xml"/><Relationship Id="rId6" Type="http://schemas.openxmlformats.org/officeDocument/2006/relationships/chart" Target="../charts/chart61.xml"/><Relationship Id="rId7" Type="http://schemas.openxmlformats.org/officeDocument/2006/relationships/chart" Target="../charts/chart62.xml"/></Relationships>
</file>

<file path=ppt/slides/_rels/slide230.xml.rels><?xml version='1.0' encoding='UTF-8' standalone='yes'?>
<Relationships xmlns="http://schemas.openxmlformats.org/package/2006/relationships"><Relationship Id="rId1" Type="http://schemas.openxmlformats.org/officeDocument/2006/relationships/tags" Target="../tags/tag2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0.xml"/></Relationships>
</file>

<file path=ppt/slides/_rels/slide231.xml.rels><?xml version='1.0' encoding='UTF-8' standalone='yes'?>
<Relationships xmlns="http://schemas.openxmlformats.org/package/2006/relationships"><Relationship Id="rId1" Type="http://schemas.openxmlformats.org/officeDocument/2006/relationships/tags" Target="../tags/tag2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1.xml"/></Relationships>
</file>

<file path=ppt/slides/_rels/slide232.xml.rels><?xml version='1.0' encoding='UTF-8' standalone='yes'?>
<Relationships xmlns="http://schemas.openxmlformats.org/package/2006/relationships"><Relationship Id="rId1" Type="http://schemas.openxmlformats.org/officeDocument/2006/relationships/tags" Target="../tags/tag2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2.xml"/></Relationships>
</file>

<file path=ppt/slides/_rels/slide233.xml.rels><?xml version='1.0' encoding='UTF-8' standalone='yes'?>
<Relationships xmlns="http://schemas.openxmlformats.org/package/2006/relationships"><Relationship Id="rId1" Type="http://schemas.openxmlformats.org/officeDocument/2006/relationships/tags" Target="../tags/tag2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3.xml"/></Relationships>
</file>

<file path=ppt/slides/_rels/slide234.xml.rels><?xml version='1.0' encoding='UTF-8' standalone='yes'?>
<Relationships xmlns="http://schemas.openxmlformats.org/package/2006/relationships"><Relationship Id="rId1" Type="http://schemas.openxmlformats.org/officeDocument/2006/relationships/tags" Target="../tags/tag2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4.xml"/></Relationships>
</file>

<file path=ppt/slides/_rels/slide235.xml.rels><?xml version='1.0' encoding='UTF-8' standalone='yes'?>
<Relationships xmlns="http://schemas.openxmlformats.org/package/2006/relationships"><Relationship Id="rId1" Type="http://schemas.openxmlformats.org/officeDocument/2006/relationships/tags" Target="../tags/tag2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5.xml"/></Relationships>
</file>

<file path=ppt/slides/_rels/slide236.xml.rels><?xml version='1.0' encoding='UTF-8' standalone='yes'?>
<Relationships xmlns="http://schemas.openxmlformats.org/package/2006/relationships"><Relationship Id="rId1" Type="http://schemas.openxmlformats.org/officeDocument/2006/relationships/tags" Target="../tags/tag2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6.xml"/></Relationships>
</file>

<file path=ppt/slides/_rels/slide237.xml.rels><?xml version='1.0' encoding='UTF-8' standalone='yes'?>
<Relationships xmlns="http://schemas.openxmlformats.org/package/2006/relationships"><Relationship Id="rId1" Type="http://schemas.openxmlformats.org/officeDocument/2006/relationships/tags" Target="../tags/tag2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7.xml"/></Relationships>
</file>

<file path=ppt/slides/_rels/slide238.xml.rels><?xml version='1.0' encoding='UTF-8' standalone='yes'?>
<Relationships xmlns="http://schemas.openxmlformats.org/package/2006/relationships"><Relationship Id="rId1" Type="http://schemas.openxmlformats.org/officeDocument/2006/relationships/tags" Target="../tags/tag2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8.xml"/></Relationships>
</file>

<file path=ppt/slides/_rels/slide239.xml.rels><?xml version='1.0' encoding='UTF-8' standalone='yes'?>
<Relationships xmlns="http://schemas.openxmlformats.org/package/2006/relationships"><Relationship Id="rId1" Type="http://schemas.openxmlformats.org/officeDocument/2006/relationships/tags" Target="../tags/tag2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9.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xml"/><Relationship Id="rId6" Type="http://schemas.openxmlformats.org/officeDocument/2006/relationships/chart" Target="../charts/chart64.xml"/><Relationship Id="rId7" Type="http://schemas.openxmlformats.org/officeDocument/2006/relationships/chart" Target="../charts/chart65.xml"/></Relationships>
</file>

<file path=ppt/slides/_rels/slide240.xml.rels><?xml version='1.0' encoding='UTF-8' standalone='yes'?>
<Relationships xmlns="http://schemas.openxmlformats.org/package/2006/relationships"><Relationship Id="rId1" Type="http://schemas.openxmlformats.org/officeDocument/2006/relationships/tags" Target="../tags/tag2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0.xml"/></Relationships>
</file>

<file path=ppt/slides/_rels/slide241.xml.rels><?xml version='1.0' encoding='UTF-8' standalone='yes'?>
<Relationships xmlns="http://schemas.openxmlformats.org/package/2006/relationships"><Relationship Id="rId1" Type="http://schemas.openxmlformats.org/officeDocument/2006/relationships/tags" Target="../tags/tag2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1.xml"/></Relationships>
</file>

<file path=ppt/slides/_rels/slide242.xml.rels><?xml version='1.0' encoding='UTF-8' standalone='yes'?>
<Relationships xmlns="http://schemas.openxmlformats.org/package/2006/relationships"><Relationship Id="rId1" Type="http://schemas.openxmlformats.org/officeDocument/2006/relationships/tags" Target="../tags/tag2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2.xml"/></Relationships>
</file>

<file path=ppt/slides/_rels/slide243.xml.rels><?xml version='1.0' encoding='UTF-8' standalone='yes'?>
<Relationships xmlns="http://schemas.openxmlformats.org/package/2006/relationships"><Relationship Id="rId1" Type="http://schemas.openxmlformats.org/officeDocument/2006/relationships/tags" Target="../tags/tag2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3.xml"/></Relationships>
</file>

<file path=ppt/slides/_rels/slide244.xml.rels><?xml version='1.0' encoding='UTF-8' standalone='yes'?>
<Relationships xmlns="http://schemas.openxmlformats.org/package/2006/relationships"><Relationship Id="rId1" Type="http://schemas.openxmlformats.org/officeDocument/2006/relationships/tags" Target="../tags/tag2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4.xml"/></Relationships>
</file>

<file path=ppt/slides/_rels/slide245.xml.rels><?xml version='1.0' encoding='UTF-8' standalone='yes'?>
<Relationships xmlns="http://schemas.openxmlformats.org/package/2006/relationships"><Relationship Id="rId1" Type="http://schemas.openxmlformats.org/officeDocument/2006/relationships/tags" Target="../tags/tag2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5.xml"/></Relationships>
</file>

<file path=ppt/slides/_rels/slide246.xml.rels><?xml version='1.0' encoding='UTF-8' standalone='yes'?>
<Relationships xmlns="http://schemas.openxmlformats.org/package/2006/relationships"><Relationship Id="rId1" Type="http://schemas.openxmlformats.org/officeDocument/2006/relationships/tags" Target="../tags/tag2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6.xml"/></Relationships>
</file>

<file path=ppt/slides/_rels/slide247.xml.rels><?xml version='1.0' encoding='UTF-8' standalone='yes'?>
<Relationships xmlns="http://schemas.openxmlformats.org/package/2006/relationships"><Relationship Id="rId1" Type="http://schemas.openxmlformats.org/officeDocument/2006/relationships/tags" Target="../tags/tag2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7.xml"/></Relationships>
</file>

<file path=ppt/slides/_rels/slide248.xml.rels><?xml version='1.0' encoding='UTF-8' standalone='yes'?>
<Relationships xmlns="http://schemas.openxmlformats.org/package/2006/relationships"><Relationship Id="rId1" Type="http://schemas.openxmlformats.org/officeDocument/2006/relationships/tags" Target="../tags/tag2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8.xml"/></Relationships>
</file>

<file path=ppt/slides/_rels/slide249.xml.rels><?xml version='1.0' encoding='UTF-8' standalone='yes'?>
<Relationships xmlns="http://schemas.openxmlformats.org/package/2006/relationships"><Relationship Id="rId1" Type="http://schemas.openxmlformats.org/officeDocument/2006/relationships/tags" Target="../tags/tag2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9.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xml"/><Relationship Id="rId6" Type="http://schemas.openxmlformats.org/officeDocument/2006/relationships/chart" Target="../charts/chart67.xml"/><Relationship Id="rId7" Type="http://schemas.openxmlformats.org/officeDocument/2006/relationships/chart" Target="../charts/chart68.xml"/></Relationships>
</file>

<file path=ppt/slides/_rels/slide250.xml.rels><?xml version='1.0' encoding='UTF-8' standalone='yes'?>
<Relationships xmlns="http://schemas.openxmlformats.org/package/2006/relationships"><Relationship Id="rId1" Type="http://schemas.openxmlformats.org/officeDocument/2006/relationships/tags" Target="../tags/tag2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0.xml"/></Relationships>
</file>

<file path=ppt/slides/_rels/slide251.xml.rels><?xml version='1.0' encoding='UTF-8' standalone='yes'?>
<Relationships xmlns="http://schemas.openxmlformats.org/package/2006/relationships"><Relationship Id="rId1" Type="http://schemas.openxmlformats.org/officeDocument/2006/relationships/tags" Target="../tags/tag2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1.xml"/></Relationships>
</file>

<file path=ppt/slides/_rels/slide252.xml.rels><?xml version='1.0' encoding='UTF-8' standalone='yes'?>
<Relationships xmlns="http://schemas.openxmlformats.org/package/2006/relationships"><Relationship Id="rId1" Type="http://schemas.openxmlformats.org/officeDocument/2006/relationships/tags" Target="../tags/tag2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2.xml"/></Relationships>
</file>

<file path=ppt/slides/_rels/slide253.xml.rels><?xml version='1.0' encoding='UTF-8' standalone='yes'?>
<Relationships xmlns="http://schemas.openxmlformats.org/package/2006/relationships"><Relationship Id="rId1" Type="http://schemas.openxmlformats.org/officeDocument/2006/relationships/tags" Target="../tags/tag2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3.xml"/></Relationships>
</file>

<file path=ppt/slides/_rels/slide254.xml.rels><?xml version='1.0' encoding='UTF-8' standalone='yes'?>
<Relationships xmlns="http://schemas.openxmlformats.org/package/2006/relationships"><Relationship Id="rId1" Type="http://schemas.openxmlformats.org/officeDocument/2006/relationships/tags" Target="../tags/tag2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4.xml"/></Relationships>
</file>

<file path=ppt/slides/_rels/slide255.xml.rels><?xml version='1.0' encoding='UTF-8' standalone='yes'?>
<Relationships xmlns="http://schemas.openxmlformats.org/package/2006/relationships"><Relationship Id="rId1" Type="http://schemas.openxmlformats.org/officeDocument/2006/relationships/tags" Target="../tags/tag2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5.xml"/></Relationships>
</file>

<file path=ppt/slides/_rels/slide256.xml.rels><?xml version='1.0' encoding='UTF-8' standalone='yes'?>
<Relationships xmlns="http://schemas.openxmlformats.org/package/2006/relationships"><Relationship Id="rId1" Type="http://schemas.openxmlformats.org/officeDocument/2006/relationships/tags" Target="../tags/tag2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6.xml"/></Relationships>
</file>

<file path=ppt/slides/_rels/slide257.xml.rels><?xml version='1.0' encoding='UTF-8' standalone='yes'?>
<Relationships xmlns="http://schemas.openxmlformats.org/package/2006/relationships"><Relationship Id="rId1" Type="http://schemas.openxmlformats.org/officeDocument/2006/relationships/tags" Target="../tags/tag2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7.xml"/></Relationships>
</file>

<file path=ppt/slides/_rels/slide258.xml.rels><?xml version='1.0' encoding='UTF-8' standalone='yes'?>
<Relationships xmlns="http://schemas.openxmlformats.org/package/2006/relationships"><Relationship Id="rId1" Type="http://schemas.openxmlformats.org/officeDocument/2006/relationships/tags" Target="../tags/tag2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8.xml"/></Relationships>
</file>

<file path=ppt/slides/_rels/slide259.xml.rels><?xml version='1.0' encoding='UTF-8' standalone='yes'?>
<Relationships xmlns="http://schemas.openxmlformats.org/package/2006/relationships"><Relationship Id="rId1" Type="http://schemas.openxmlformats.org/officeDocument/2006/relationships/tags" Target="../tags/tag2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9.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9.xml"/><Relationship Id="rId6" Type="http://schemas.openxmlformats.org/officeDocument/2006/relationships/chart" Target="../charts/chart70.xml"/><Relationship Id="rId7" Type="http://schemas.openxmlformats.org/officeDocument/2006/relationships/chart" Target="../charts/chart71.xml"/></Relationships>
</file>

<file path=ppt/slides/_rels/slide260.xml.rels><?xml version='1.0' encoding='UTF-8' standalone='yes'?>
<Relationships xmlns="http://schemas.openxmlformats.org/package/2006/relationships"><Relationship Id="rId1" Type="http://schemas.openxmlformats.org/officeDocument/2006/relationships/tags" Target="../tags/tag2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0.xml"/></Relationships>
</file>

<file path=ppt/slides/_rels/slide261.xml.rels><?xml version='1.0' encoding='UTF-8' standalone='yes'?>
<Relationships xmlns="http://schemas.openxmlformats.org/package/2006/relationships"><Relationship Id="rId1" Type="http://schemas.openxmlformats.org/officeDocument/2006/relationships/tags" Target="../tags/tag2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1.xml"/></Relationships>
</file>

<file path=ppt/slides/_rels/slide262.xml.rels><?xml version='1.0' encoding='UTF-8' standalone='yes'?>
<Relationships xmlns="http://schemas.openxmlformats.org/package/2006/relationships"><Relationship Id="rId1" Type="http://schemas.openxmlformats.org/officeDocument/2006/relationships/tags" Target="../tags/tag2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2.xml"/></Relationships>
</file>

<file path=ppt/slides/_rels/slide263.xml.rels><?xml version='1.0' encoding='UTF-8' standalone='yes'?>
<Relationships xmlns="http://schemas.openxmlformats.org/package/2006/relationships"><Relationship Id="rId1" Type="http://schemas.openxmlformats.org/officeDocument/2006/relationships/tags" Target="../tags/tag2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3.xml"/></Relationships>
</file>

<file path=ppt/slides/_rels/slide264.xml.rels><?xml version='1.0' encoding='UTF-8' standalone='yes'?>
<Relationships xmlns="http://schemas.openxmlformats.org/package/2006/relationships"><Relationship Id="rId1" Type="http://schemas.openxmlformats.org/officeDocument/2006/relationships/tags" Target="../tags/tag2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4.xml"/></Relationships>
</file>

<file path=ppt/slides/_rels/slide265.xml.rels><?xml version='1.0' encoding='UTF-8' standalone='yes'?>
<Relationships xmlns="http://schemas.openxmlformats.org/package/2006/relationships"><Relationship Id="rId1" Type="http://schemas.openxmlformats.org/officeDocument/2006/relationships/tags" Target="../tags/tag2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5.xml"/></Relationships>
</file>

<file path=ppt/slides/_rels/slide266.xml.rels><?xml version='1.0' encoding='UTF-8' standalone='yes'?>
<Relationships xmlns="http://schemas.openxmlformats.org/package/2006/relationships"><Relationship Id="rId1" Type="http://schemas.openxmlformats.org/officeDocument/2006/relationships/tags" Target="../tags/tag2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6.xml"/></Relationships>
</file>

<file path=ppt/slides/_rels/slide267.xml.rels><?xml version='1.0' encoding='UTF-8' standalone='yes'?>
<Relationships xmlns="http://schemas.openxmlformats.org/package/2006/relationships"><Relationship Id="rId1" Type="http://schemas.openxmlformats.org/officeDocument/2006/relationships/tags" Target="../tags/tag294.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268.xml.rels><?xml version='1.0' encoding='UTF-8' standalone='yes'?>
<Relationships xmlns="http://schemas.openxmlformats.org/package/2006/relationships"><Relationship Id="rId1" Type="http://schemas.openxmlformats.org/officeDocument/2006/relationships/tags" Target="../tags/tag295.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269.xml.rels><?xml version='1.0' encoding='UTF-8' standalone='yes'?>
<Relationships xmlns="http://schemas.openxmlformats.org/package/2006/relationships"><Relationship Id="rId1" Type="http://schemas.openxmlformats.org/officeDocument/2006/relationships/tags" Target="../tags/tag296.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2.xml"/><Relationship Id="rId6" Type="http://schemas.openxmlformats.org/officeDocument/2006/relationships/chart" Target="../charts/chart73.xml"/><Relationship Id="rId7" Type="http://schemas.openxmlformats.org/officeDocument/2006/relationships/chart" Target="../charts/chart74.xml"/></Relationships>
</file>

<file path=ppt/slides/_rels/slide270.xml.rels><?xml version='1.0' encoding='UTF-8' standalone='yes'?>
<Relationships xmlns="http://schemas.openxmlformats.org/package/2006/relationships"><Relationship Id="rId1" Type="http://schemas.openxmlformats.org/officeDocument/2006/relationships/tags" Target="../tags/tag297.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271.xml.rels><?xml version='1.0' encoding='UTF-8' standalone='yes'?>
<Relationships xmlns="http://schemas.openxmlformats.org/package/2006/relationships"><Relationship Id="rId1" Type="http://schemas.openxmlformats.org/officeDocument/2006/relationships/tags" Target="../tags/tag298.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272.xml.rels><?xml version='1.0' encoding='UTF-8' standalone='yes'?>
<Relationships xmlns="http://schemas.openxmlformats.org/package/2006/relationships"><Relationship Id="rId1" Type="http://schemas.openxmlformats.org/officeDocument/2006/relationships/tags" Target="../tags/tag299.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273.xml.rels><?xml version='1.0' encoding='UTF-8' standalone='yes'?>
<Relationships xmlns="http://schemas.openxmlformats.org/package/2006/relationships"><Relationship Id="rId1" Type="http://schemas.openxmlformats.org/officeDocument/2006/relationships/tags" Target="../tags/tag300.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274.xml.rels><?xml version='1.0' encoding='UTF-8' standalone='yes'?>
<Relationships xmlns="http://schemas.openxmlformats.org/package/2006/relationships"><Relationship Id="rId1" Type="http://schemas.openxmlformats.org/officeDocument/2006/relationships/tags" Target="../tags/tag301.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275.xml.rels><?xml version='1.0' encoding='UTF-8' standalone='yes'?>
<Relationships xmlns="http://schemas.openxmlformats.org/package/2006/relationships"><Relationship Id="rId1" Type="http://schemas.openxmlformats.org/officeDocument/2006/relationships/tags" Target="../tags/tag302.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37.xml"/></Relationships>
</file>

<file path=ppt/slides/_rels/slide276.xml.rels><?xml version='1.0' encoding='UTF-8' standalone='yes'?>
<Relationships xmlns="http://schemas.openxmlformats.org/package/2006/relationships"><Relationship Id="rId1" Type="http://schemas.openxmlformats.org/officeDocument/2006/relationships/tags" Target="../tags/tag303.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38.xml"/></Relationships>
</file>

<file path=ppt/slides/_rels/slide277.xml.rels><?xml version='1.0' encoding='UTF-8' standalone='yes'?>
<Relationships xmlns="http://schemas.openxmlformats.org/package/2006/relationships"><Relationship Id="rId1" Type="http://schemas.openxmlformats.org/officeDocument/2006/relationships/tags" Target="../tags/tag304.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39.xml"/></Relationships>
</file>

<file path=ppt/slides/_rels/slide278.xml.rels><?xml version='1.0' encoding='UTF-8' standalone='yes'?>
<Relationships xmlns="http://schemas.openxmlformats.org/package/2006/relationships"><Relationship Id="rId1" Type="http://schemas.openxmlformats.org/officeDocument/2006/relationships/tags" Target="../tags/tag305.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40.xml"/></Relationships>
</file>

<file path=ppt/slides/_rels/slide279.xml.rels><?xml version='1.0' encoding='UTF-8' standalone='yes'?>
<Relationships xmlns="http://schemas.openxmlformats.org/package/2006/relationships"><Relationship Id="rId1" Type="http://schemas.openxmlformats.org/officeDocument/2006/relationships/tags" Target="../tags/tag306.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41.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xml"/><Relationship Id="rId6" Type="http://schemas.openxmlformats.org/officeDocument/2006/relationships/chart" Target="../charts/chart76.xml"/><Relationship Id="rId7" Type="http://schemas.openxmlformats.org/officeDocument/2006/relationships/chart" Target="../charts/chart77.xml"/></Relationships>
</file>

<file path=ppt/slides/_rels/slide280.xml.rels><?xml version='1.0' encoding='UTF-8' standalone='yes'?>
<Relationships xmlns="http://schemas.openxmlformats.org/package/2006/relationships"><Relationship Id="rId1" Type="http://schemas.openxmlformats.org/officeDocument/2006/relationships/tags" Target="../tags/tag307.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42.xml"/></Relationships>
</file>

<file path=ppt/slides/_rels/slide281.xml.rels><?xml version='1.0' encoding='UTF-8' standalone='yes'?>
<Relationships xmlns="http://schemas.openxmlformats.org/package/2006/relationships"><Relationship Id="rId1" Type="http://schemas.openxmlformats.org/officeDocument/2006/relationships/tags" Target="../tags/tag308.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43.xml"/></Relationships>
</file>

<file path=ppt/slides/_rels/slide282.xml.rels><?xml version='1.0' encoding='UTF-8' standalone='yes'?>
<Relationships xmlns="http://schemas.openxmlformats.org/package/2006/relationships"><Relationship Id="rId1" Type="http://schemas.openxmlformats.org/officeDocument/2006/relationships/tags" Target="../tags/tag309.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44.xml"/></Relationships>
</file>

<file path=ppt/slides/_rels/slide283.xml.rels><?xml version='1.0' encoding='UTF-8' standalone='yes'?>
<Relationships xmlns="http://schemas.openxmlformats.org/package/2006/relationships"><Relationship Id="rId1" Type="http://schemas.openxmlformats.org/officeDocument/2006/relationships/tags" Target="../tags/tag310.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45.xml"/></Relationships>
</file>

<file path=ppt/slides/_rels/slide284.xml.rels><?xml version='1.0' encoding='UTF-8' standalone='yes'?>
<Relationships xmlns="http://schemas.openxmlformats.org/package/2006/relationships"><Relationship Id="rId1" Type="http://schemas.openxmlformats.org/officeDocument/2006/relationships/tags" Target="../tags/tag311.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46.xml"/></Relationships>
</file>

<file path=ppt/slides/_rels/slide285.xml.rels><?xml version='1.0' encoding='UTF-8' standalone='yes'?>
<Relationships xmlns="http://schemas.openxmlformats.org/package/2006/relationships"><Relationship Id="rId1" Type="http://schemas.openxmlformats.org/officeDocument/2006/relationships/tags" Target="../tags/tag312.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47.xml"/></Relationships>
</file>

<file path=ppt/slides/_rels/slide286.xml.rels><?xml version='1.0' encoding='UTF-8' standalone='yes'?>
<Relationships xmlns="http://schemas.openxmlformats.org/package/2006/relationships"><Relationship Id="rId1" Type="http://schemas.openxmlformats.org/officeDocument/2006/relationships/tags" Target="../tags/tag313.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48.xml"/></Relationships>
</file>

<file path=ppt/slides/_rels/slide287.xml.rels><?xml version='1.0' encoding='UTF-8' standalone='yes'?>
<Relationships xmlns="http://schemas.openxmlformats.org/package/2006/relationships"><Relationship Id="rId1" Type="http://schemas.openxmlformats.org/officeDocument/2006/relationships/tags" Target="../tags/tag314.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49.xml"/></Relationships>
</file>

<file path=ppt/slides/_rels/slide288.xml.rels><?xml version='1.0' encoding='UTF-8' standalone='yes'?>
<Relationships xmlns="http://schemas.openxmlformats.org/package/2006/relationships"><Relationship Id="rId1" Type="http://schemas.openxmlformats.org/officeDocument/2006/relationships/tags" Target="../tags/tag315.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50.xml"/></Relationships>
</file>

<file path=ppt/slides/_rels/slide289.xml.rels><?xml version='1.0' encoding='UTF-8' standalone='yes'?>
<Relationships xmlns="http://schemas.openxmlformats.org/package/2006/relationships"><Relationship Id="rId1" Type="http://schemas.openxmlformats.org/officeDocument/2006/relationships/tags" Target="../tags/tag316.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51.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8.xml"/><Relationship Id="rId6" Type="http://schemas.openxmlformats.org/officeDocument/2006/relationships/chart" Target="../charts/chart79.xml"/><Relationship Id="rId7" Type="http://schemas.openxmlformats.org/officeDocument/2006/relationships/chart" Target="../charts/chart80.xml"/><Relationship Id="rId8" Type="http://schemas.openxmlformats.org/officeDocument/2006/relationships/chart" Target="../charts/chart81.xml"/></Relationships>
</file>

<file path=ppt/slides/_rels/slide290.xml.rels><?xml version='1.0' encoding='UTF-8' standalone='yes'?>
<Relationships xmlns="http://schemas.openxmlformats.org/package/2006/relationships"><Relationship Id="rId1" Type="http://schemas.openxmlformats.org/officeDocument/2006/relationships/tags" Target="../tags/tag317.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52.xml"/></Relationships>
</file>

<file path=ppt/slides/_rels/slide291.xml.rels><?xml version='1.0' encoding='UTF-8' standalone='yes'?>
<Relationships xmlns="http://schemas.openxmlformats.org/package/2006/relationships"><Relationship Id="rId1" Type="http://schemas.openxmlformats.org/officeDocument/2006/relationships/tags" Target="../tags/tag318.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53.xml"/></Relationships>
</file>

<file path=ppt/slides/_rels/slide292.xml.rels><?xml version='1.0' encoding='UTF-8' standalone='yes'?>
<Relationships xmlns="http://schemas.openxmlformats.org/package/2006/relationships"><Relationship Id="rId1" Type="http://schemas.openxmlformats.org/officeDocument/2006/relationships/tags" Target="../tags/tag319.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54.xml"/></Relationships>
</file>

<file path=ppt/slides/_rels/slide293.xml.rels><?xml version='1.0' encoding='UTF-8' standalone='yes'?>
<Relationships xmlns="http://schemas.openxmlformats.org/package/2006/relationships"><Relationship Id="rId1" Type="http://schemas.openxmlformats.org/officeDocument/2006/relationships/tags" Target="../tags/tag320.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55.xml"/></Relationships>
</file>

<file path=ppt/slides/_rels/slide294.xml.rels><?xml version='1.0' encoding='UTF-8' standalone='yes'?>
<Relationships xmlns="http://schemas.openxmlformats.org/package/2006/relationships"><Relationship Id="rId1" Type="http://schemas.openxmlformats.org/officeDocument/2006/relationships/tags" Target="../tags/tag321.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56.xml"/></Relationships>
</file>

<file path=ppt/slides/_rels/slide295.xml.rels><?xml version='1.0' encoding='UTF-8' standalone='yes'?>
<Relationships xmlns="http://schemas.openxmlformats.org/package/2006/relationships"><Relationship Id="rId1" Type="http://schemas.openxmlformats.org/officeDocument/2006/relationships/tags" Target="../tags/tag322.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57.xml"/></Relationships>
</file>

<file path=ppt/slides/_rels/slide296.xml.rels><?xml version='1.0' encoding='UTF-8' standalone='yes'?>
<Relationships xmlns="http://schemas.openxmlformats.org/package/2006/relationships"><Relationship Id="rId1" Type="http://schemas.openxmlformats.org/officeDocument/2006/relationships/tags" Target="../tags/tag323.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58.xml"/></Relationships>
</file>

<file path=ppt/slides/_rels/slide297.xml.rels><?xml version='1.0' encoding='UTF-8' standalone='yes'?>
<Relationships xmlns="http://schemas.openxmlformats.org/package/2006/relationships"><Relationship Id="rId1" Type="http://schemas.openxmlformats.org/officeDocument/2006/relationships/tags" Target="../tags/tag324.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59.xml"/></Relationships>
</file>

<file path=ppt/slides/_rels/slide298.xml.rels><?xml version='1.0' encoding='UTF-8' standalone='yes'?>
<Relationships xmlns="http://schemas.openxmlformats.org/package/2006/relationships"><Relationship Id="rId1" Type="http://schemas.openxmlformats.org/officeDocument/2006/relationships/tags" Target="../tags/tag325.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60.xml"/></Relationships>
</file>

<file path=ppt/slides/_rels/slide299.xml.rels><?xml version='1.0' encoding='UTF-8' standalone='yes'?>
<Relationships xmlns="http://schemas.openxmlformats.org/package/2006/relationships"><Relationship Id="rId1" Type="http://schemas.openxmlformats.org/officeDocument/2006/relationships/tags" Target="../tags/tag326.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61.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2.xml"/></Relationships>
</file>

<file path=ppt/slides/_rels/slide300.xml.rels><?xml version='1.0' encoding='UTF-8' standalone='yes'?>
<Relationships xmlns="http://schemas.openxmlformats.org/package/2006/relationships"><Relationship Id="rId1" Type="http://schemas.openxmlformats.org/officeDocument/2006/relationships/tags" Target="../tags/tag327.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62.xml"/></Relationships>
</file>

<file path=ppt/slides/_rels/slide301.xml.rels><?xml version='1.0' encoding='UTF-8' standalone='yes'?>
<Relationships xmlns="http://schemas.openxmlformats.org/package/2006/relationships"><Relationship Id="rId1" Type="http://schemas.openxmlformats.org/officeDocument/2006/relationships/tags" Target="../tags/tag328.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63.xml"/></Relationships>
</file>

<file path=ppt/slides/_rels/slide302.xml.rels><?xml version='1.0' encoding='UTF-8' standalone='yes'?>
<Relationships xmlns="http://schemas.openxmlformats.org/package/2006/relationships"><Relationship Id="rId1" Type="http://schemas.openxmlformats.org/officeDocument/2006/relationships/tags" Target="../tags/tag329.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64.xml"/></Relationships>
</file>

<file path=ppt/slides/_rels/slide303.xml.rels><?xml version='1.0' encoding='UTF-8' standalone='yes'?>
<Relationships xmlns="http://schemas.openxmlformats.org/package/2006/relationships"><Relationship Id="rId1" Type="http://schemas.openxmlformats.org/officeDocument/2006/relationships/tags" Target="../tags/tag330.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65.xml"/></Relationships>
</file>

<file path=ppt/slides/_rels/slide304.xml.rels><?xml version='1.0' encoding='UTF-8' standalone='yes'?>
<Relationships xmlns="http://schemas.openxmlformats.org/package/2006/relationships"><Relationship Id="rId1" Type="http://schemas.openxmlformats.org/officeDocument/2006/relationships/tags" Target="../tags/tag331.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66.xml"/></Relationships>
</file>

<file path=ppt/slides/_rels/slide305.xml.rels><?xml version='1.0' encoding='UTF-8' standalone='yes'?>
<Relationships xmlns="http://schemas.openxmlformats.org/package/2006/relationships"><Relationship Id="rId1" Type="http://schemas.openxmlformats.org/officeDocument/2006/relationships/tags" Target="../tags/tag332.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67.xml"/></Relationships>
</file>

<file path=ppt/slides/_rels/slide306.xml.rels><?xml version='1.0' encoding='UTF-8' standalone='yes'?>
<Relationships xmlns="http://schemas.openxmlformats.org/package/2006/relationships"><Relationship Id="rId1" Type="http://schemas.openxmlformats.org/officeDocument/2006/relationships/tags" Target="../tags/tag333.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68.xml"/></Relationships>
</file>

<file path=ppt/slides/_rels/slide307.xml.rels><?xml version='1.0' encoding='UTF-8' standalone='yes'?>
<Relationships xmlns="http://schemas.openxmlformats.org/package/2006/relationships"><Relationship Id="rId1" Type="http://schemas.openxmlformats.org/officeDocument/2006/relationships/tags" Target="../tags/tag334.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69.xml"/></Relationships>
</file>

<file path=ppt/slides/_rels/slide308.xml.rels><?xml version='1.0' encoding='UTF-8' standalone='yes'?>
<Relationships xmlns="http://schemas.openxmlformats.org/package/2006/relationships"><Relationship Id="rId1" Type="http://schemas.openxmlformats.org/officeDocument/2006/relationships/tags" Target="../tags/tag335.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70.xml"/></Relationships>
</file>

<file path=ppt/slides/_rels/slide309.xml.rels><?xml version='1.0' encoding='UTF-8' standalone='yes'?>
<Relationships xmlns="http://schemas.openxmlformats.org/package/2006/relationships"><Relationship Id="rId1" Type="http://schemas.openxmlformats.org/officeDocument/2006/relationships/tags" Target="../tags/tag336.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71.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xml"/><Relationship Id="rId6" Type="http://schemas.openxmlformats.org/officeDocument/2006/relationships/chart" Target="../charts/chart84.xml"/><Relationship Id="rId7" Type="http://schemas.openxmlformats.org/officeDocument/2006/relationships/chart" Target="../charts/chart85.xml"/><Relationship Id="rId8" Type="http://schemas.openxmlformats.org/officeDocument/2006/relationships/chart" Target="../charts/chart86.xml"/></Relationships>
</file>

<file path=ppt/slides/_rels/slide310.xml.rels><?xml version='1.0' encoding='UTF-8' standalone='yes'?>
<Relationships xmlns="http://schemas.openxmlformats.org/package/2006/relationships"><Relationship Id="rId1" Type="http://schemas.openxmlformats.org/officeDocument/2006/relationships/tags" Target="../tags/tag337.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72.xml"/></Relationships>
</file>

<file path=ppt/slides/_rels/slide311.xml.rels><?xml version='1.0' encoding='UTF-8' standalone='yes'?>
<Relationships xmlns="http://schemas.openxmlformats.org/package/2006/relationships"><Relationship Id="rId1" Type="http://schemas.openxmlformats.org/officeDocument/2006/relationships/tags" Target="../tags/tag338.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73.xml"/></Relationships>
</file>

<file path=ppt/slides/_rels/slide312.xml.rels><?xml version='1.0' encoding='UTF-8' standalone='yes'?>
<Relationships xmlns="http://schemas.openxmlformats.org/package/2006/relationships"><Relationship Id="rId1" Type="http://schemas.openxmlformats.org/officeDocument/2006/relationships/tags" Target="../tags/tag339.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74.xml"/></Relationships>
</file>

<file path=ppt/slides/_rels/slide313.xml.rels><?xml version='1.0' encoding='UTF-8' standalone='yes'?>
<Relationships xmlns="http://schemas.openxmlformats.org/package/2006/relationships"><Relationship Id="rId1" Type="http://schemas.openxmlformats.org/officeDocument/2006/relationships/tags" Target="../tags/tag340.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75.xml"/></Relationships>
</file>

<file path=ppt/slides/_rels/slide314.xml.rels><?xml version='1.0' encoding='UTF-8' standalone='yes'?>
<Relationships xmlns="http://schemas.openxmlformats.org/package/2006/relationships"><Relationship Id="rId1" Type="http://schemas.openxmlformats.org/officeDocument/2006/relationships/tags" Target="../tags/tag341.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76.xml"/></Relationships>
</file>

<file path=ppt/slides/_rels/slide315.xml.rels><?xml version='1.0' encoding='UTF-8' standalone='yes'?>
<Relationships xmlns="http://schemas.openxmlformats.org/package/2006/relationships"><Relationship Id="rId1" Type="http://schemas.openxmlformats.org/officeDocument/2006/relationships/tags" Target="../tags/tag342.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77.xml"/></Relationships>
</file>

<file path=ppt/slides/_rels/slide316.xml.rels><?xml version='1.0' encoding='UTF-8' standalone='yes'?>
<Relationships xmlns="http://schemas.openxmlformats.org/package/2006/relationships"><Relationship Id="rId1" Type="http://schemas.openxmlformats.org/officeDocument/2006/relationships/tags" Target="../tags/tag343.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78.xml"/></Relationships>
</file>

<file path=ppt/slides/_rels/slide317.xml.rels><?xml version='1.0' encoding='UTF-8' standalone='yes'?>
<Relationships xmlns="http://schemas.openxmlformats.org/package/2006/relationships"><Relationship Id="rId1" Type="http://schemas.openxmlformats.org/officeDocument/2006/relationships/tags" Target="../tags/tag344.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79.xml"/></Relationships>
</file>

<file path=ppt/slides/_rels/slide318.xml.rels><?xml version='1.0' encoding='UTF-8' standalone='yes'?>
<Relationships xmlns="http://schemas.openxmlformats.org/package/2006/relationships"><Relationship Id="rId1" Type="http://schemas.openxmlformats.org/officeDocument/2006/relationships/tags" Target="../tags/tag345.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80.xml"/></Relationships>
</file>

<file path=ppt/slides/_rels/slide319.xml.rels><?xml version='1.0' encoding='UTF-8' standalone='yes'?>
<Relationships xmlns="http://schemas.openxmlformats.org/package/2006/relationships"><Relationship Id="rId1" Type="http://schemas.openxmlformats.org/officeDocument/2006/relationships/tags" Target="../tags/tag346.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8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7.xml"/></Relationships>
</file>

<file path=ppt/slides/_rels/slide320.xml.rels><?xml version='1.0' encoding='UTF-8' standalone='yes'?>
<Relationships xmlns="http://schemas.openxmlformats.org/package/2006/relationships"><Relationship Id="rId1" Type="http://schemas.openxmlformats.org/officeDocument/2006/relationships/tags" Target="../tags/tag347.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82.xml"/></Relationships>
</file>

<file path=ppt/slides/_rels/slide321.xml.rels><?xml version='1.0' encoding='UTF-8' standalone='yes'?>
<Relationships xmlns="http://schemas.openxmlformats.org/package/2006/relationships"><Relationship Id="rId1" Type="http://schemas.openxmlformats.org/officeDocument/2006/relationships/tags" Target="../tags/tag348.xml"/><Relationship Id="rId2" Type="http://schemas.openxmlformats.org/officeDocument/2006/relationships/slideLayout" Target="../slideLayouts/slideLayout7.xml"/><Relationship Id="rId3" Type="http://schemas.openxmlformats.org/officeDocument/2006/relationships/notesSlide" Target="../notesSlides/notesSlide55.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83.xml"/></Relationships>
</file>

<file path=ppt/slides/_rels/slide322.xml.rels><?xml version='1.0' encoding='UTF-8' standalone='yes'?>
<Relationships xmlns="http://schemas.openxmlformats.org/package/2006/relationships"><Relationship Id="rId1" Type="http://schemas.openxmlformats.org/officeDocument/2006/relationships/tags" Target="../tags/tag349.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84.xml"/></Relationships>
</file>

<file path=ppt/slides/_rels/slide323.xml.rels><?xml version='1.0' encoding='UTF-8' standalone='yes'?>
<Relationships xmlns="http://schemas.openxmlformats.org/package/2006/relationships"><Relationship Id="rId1" Type="http://schemas.openxmlformats.org/officeDocument/2006/relationships/tags" Target="../tags/tag350.xml"/><Relationship Id="rId2" Type="http://schemas.openxmlformats.org/officeDocument/2006/relationships/slideLayout" Target="../slideLayouts/slideLayout7.xml"/><Relationship Id="rId3" Type="http://schemas.openxmlformats.org/officeDocument/2006/relationships/notesSlide" Target="../notesSlides/notesSlide57.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85.xml"/></Relationships>
</file>

<file path=ppt/slides/_rels/slide324.xml.rels><?xml version='1.0' encoding='UTF-8' standalone='yes'?>
<Relationships xmlns="http://schemas.openxmlformats.org/package/2006/relationships"><Relationship Id="rId1" Type="http://schemas.openxmlformats.org/officeDocument/2006/relationships/tags" Target="../tags/tag351.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86.xml"/></Relationships>
</file>

<file path=ppt/slides/_rels/slide325.xml.rels><?xml version='1.0' encoding='UTF-8' standalone='yes'?>
<Relationships xmlns="http://schemas.openxmlformats.org/package/2006/relationships"><Relationship Id="rId1" Type="http://schemas.openxmlformats.org/officeDocument/2006/relationships/tags" Target="../tags/tag352.xml"/><Relationship Id="rId2" Type="http://schemas.openxmlformats.org/officeDocument/2006/relationships/slideLayout" Target="../slideLayouts/slideLayout7.xml"/><Relationship Id="rId3" Type="http://schemas.openxmlformats.org/officeDocument/2006/relationships/notesSlide" Target="../notesSlides/notesSlide59.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87.xml"/></Relationships>
</file>

<file path=ppt/slides/_rels/slide326.xml.rels><?xml version='1.0' encoding='UTF-8' standalone='yes'?>
<Relationships xmlns="http://schemas.openxmlformats.org/package/2006/relationships"><Relationship Id="rId1" Type="http://schemas.openxmlformats.org/officeDocument/2006/relationships/tags" Target="../tags/tag353.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88.xml"/></Relationships>
</file>

<file path=ppt/slides/_rels/slide327.xml.rels><?xml version='1.0' encoding='UTF-8' standalone='yes'?>
<Relationships xmlns="http://schemas.openxmlformats.org/package/2006/relationships"><Relationship Id="rId1" Type="http://schemas.openxmlformats.org/officeDocument/2006/relationships/tags" Target="../tags/tag354.xml"/><Relationship Id="rId2" Type="http://schemas.openxmlformats.org/officeDocument/2006/relationships/slideLayout" Target="../slideLayouts/slideLayout7.xml"/><Relationship Id="rId3" Type="http://schemas.openxmlformats.org/officeDocument/2006/relationships/notesSlide" Target="../notesSlides/notesSlide61.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89.xml"/></Relationships>
</file>

<file path=ppt/slides/_rels/slide328.xml.rels><?xml version='1.0' encoding='UTF-8' standalone='yes'?>
<Relationships xmlns="http://schemas.openxmlformats.org/package/2006/relationships"><Relationship Id="rId1" Type="http://schemas.openxmlformats.org/officeDocument/2006/relationships/tags" Target="../tags/tag355.xml"/><Relationship Id="rId2" Type="http://schemas.openxmlformats.org/officeDocument/2006/relationships/slideLayout" Target="../slideLayouts/slideLayout7.xml"/><Relationship Id="rId3" Type="http://schemas.openxmlformats.org/officeDocument/2006/relationships/notesSlide" Target="../notesSlides/notesSlide62.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90.xml"/></Relationships>
</file>

<file path=ppt/slides/_rels/slide329.xml.rels><?xml version='1.0' encoding='UTF-8' standalone='yes'?>
<Relationships xmlns="http://schemas.openxmlformats.org/package/2006/relationships"><Relationship Id="rId1" Type="http://schemas.openxmlformats.org/officeDocument/2006/relationships/tags" Target="../tags/tag356.xml"/><Relationship Id="rId2" Type="http://schemas.openxmlformats.org/officeDocument/2006/relationships/slideLayout" Target="../slideLayouts/slideLayout7.xml"/><Relationship Id="rId3" Type="http://schemas.openxmlformats.org/officeDocument/2006/relationships/notesSlide" Target="../notesSlides/notesSlide63.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91.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8.xml"/><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s>
</file>

<file path=ppt/slides/_rels/slide330.xml.rels><?xml version='1.0' encoding='UTF-8' standalone='yes'?>
<Relationships xmlns="http://schemas.openxmlformats.org/package/2006/relationships"><Relationship Id="rId1" Type="http://schemas.openxmlformats.org/officeDocument/2006/relationships/tags" Target="../tags/tag357.xml"/><Relationship Id="rId2" Type="http://schemas.openxmlformats.org/officeDocument/2006/relationships/slideLayout" Target="../slideLayouts/slideLayout7.xml"/><Relationship Id="rId3" Type="http://schemas.openxmlformats.org/officeDocument/2006/relationships/notesSlide" Target="../notesSlides/notesSlide64.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92.xml"/></Relationships>
</file>

<file path=ppt/slides/_rels/slide331.xml.rels><?xml version='1.0' encoding='UTF-8' standalone='yes'?>
<Relationships xmlns="http://schemas.openxmlformats.org/package/2006/relationships"><Relationship Id="rId1" Type="http://schemas.openxmlformats.org/officeDocument/2006/relationships/tags" Target="../tags/tag358.xml"/><Relationship Id="rId2" Type="http://schemas.openxmlformats.org/officeDocument/2006/relationships/slideLayout" Target="../slideLayouts/slideLayout7.xml"/><Relationship Id="rId3" Type="http://schemas.openxmlformats.org/officeDocument/2006/relationships/notesSlide" Target="../notesSlides/notesSlide65.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93.xml"/></Relationships>
</file>

<file path=ppt/slides/_rels/slide332.xml.rels><?xml version='1.0' encoding='UTF-8' standalone='yes'?>
<Relationships xmlns="http://schemas.openxmlformats.org/package/2006/relationships"><Relationship Id="rId1" Type="http://schemas.openxmlformats.org/officeDocument/2006/relationships/tags" Target="../tags/tag359.xml"/><Relationship Id="rId2" Type="http://schemas.openxmlformats.org/officeDocument/2006/relationships/slideLayout" Target="../slideLayouts/slideLayout7.xml"/><Relationship Id="rId3" Type="http://schemas.openxmlformats.org/officeDocument/2006/relationships/notesSlide" Target="../notesSlides/notesSlide66.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94.xml"/></Relationships>
</file>

<file path=ppt/slides/_rels/slide333.xml.rels><?xml version='1.0' encoding='UTF-8' standalone='yes'?>
<Relationships xmlns="http://schemas.openxmlformats.org/package/2006/relationships"><Relationship Id="rId1" Type="http://schemas.openxmlformats.org/officeDocument/2006/relationships/tags" Target="../tags/tag360.xml"/><Relationship Id="rId2" Type="http://schemas.openxmlformats.org/officeDocument/2006/relationships/slideLayout" Target="../slideLayouts/slideLayout7.xml"/><Relationship Id="rId3" Type="http://schemas.openxmlformats.org/officeDocument/2006/relationships/notesSlide" Target="../notesSlides/notesSlide67.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95.xml"/></Relationships>
</file>

<file path=ppt/slides/_rels/slide334.xml.rels><?xml version='1.0' encoding='UTF-8' standalone='yes'?>
<Relationships xmlns="http://schemas.openxmlformats.org/package/2006/relationships"><Relationship Id="rId1" Type="http://schemas.openxmlformats.org/officeDocument/2006/relationships/tags" Target="../tags/tag361.xml"/><Relationship Id="rId2" Type="http://schemas.openxmlformats.org/officeDocument/2006/relationships/slideLayout" Target="../slideLayouts/slideLayout7.xml"/><Relationship Id="rId3" Type="http://schemas.openxmlformats.org/officeDocument/2006/relationships/notesSlide" Target="../notesSlides/notesSlide68.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96.xml"/></Relationships>
</file>

<file path=ppt/slides/_rels/slide335.xml.rels><?xml version='1.0' encoding='UTF-8' standalone='yes'?>
<Relationships xmlns="http://schemas.openxmlformats.org/package/2006/relationships"><Relationship Id="rId1" Type="http://schemas.openxmlformats.org/officeDocument/2006/relationships/tags" Target="../tags/tag362.xml"/><Relationship Id="rId2" Type="http://schemas.openxmlformats.org/officeDocument/2006/relationships/slideLayout" Target="../slideLayouts/slideLayout7.xml"/><Relationship Id="rId3" Type="http://schemas.openxmlformats.org/officeDocument/2006/relationships/notesSlide" Target="../notesSlides/notesSlide69.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97.xml"/></Relationships>
</file>

<file path=ppt/slides/_rels/slide336.xml.rels><?xml version='1.0' encoding='UTF-8' standalone='yes'?>
<Relationships xmlns="http://schemas.openxmlformats.org/package/2006/relationships"><Relationship Id="rId1" Type="http://schemas.openxmlformats.org/officeDocument/2006/relationships/tags" Target="../tags/tag363.xml"/><Relationship Id="rId2" Type="http://schemas.openxmlformats.org/officeDocument/2006/relationships/slideLayout" Target="../slideLayouts/slideLayout7.xml"/><Relationship Id="rId3" Type="http://schemas.openxmlformats.org/officeDocument/2006/relationships/notesSlide" Target="../notesSlides/notesSlide70.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98.xml"/></Relationships>
</file>

<file path=ppt/slides/_rels/slide337.xml.rels><?xml version='1.0' encoding='UTF-8' standalone='yes'?>
<Relationships xmlns="http://schemas.openxmlformats.org/package/2006/relationships"><Relationship Id="rId1" Type="http://schemas.openxmlformats.org/officeDocument/2006/relationships/tags" Target="../tags/tag364.xml"/><Relationship Id="rId2" Type="http://schemas.openxmlformats.org/officeDocument/2006/relationships/slideLayout" Target="../slideLayouts/slideLayout7.xml"/><Relationship Id="rId3" Type="http://schemas.openxmlformats.org/officeDocument/2006/relationships/notesSlide" Target="../notesSlides/notesSlide71.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399.xml"/></Relationships>
</file>

<file path=ppt/slides/_rels/slide338.xml.rels><?xml version='1.0' encoding='UTF-8' standalone='yes'?>
<Relationships xmlns="http://schemas.openxmlformats.org/package/2006/relationships"><Relationship Id="rId1" Type="http://schemas.openxmlformats.org/officeDocument/2006/relationships/tags" Target="../tags/tag365.xml"/><Relationship Id="rId2" Type="http://schemas.openxmlformats.org/officeDocument/2006/relationships/slideLayout" Target="../slideLayouts/slideLayout7.xml"/><Relationship Id="rId3" Type="http://schemas.openxmlformats.org/officeDocument/2006/relationships/notesSlide" Target="../notesSlides/notesSlide72.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00.xml"/></Relationships>
</file>

<file path=ppt/slides/_rels/slide339.xml.rels><?xml version='1.0' encoding='UTF-8' standalone='yes'?>
<Relationships xmlns="http://schemas.openxmlformats.org/package/2006/relationships"><Relationship Id="rId1" Type="http://schemas.openxmlformats.org/officeDocument/2006/relationships/tags" Target="../tags/tag366.xml"/><Relationship Id="rId2" Type="http://schemas.openxmlformats.org/officeDocument/2006/relationships/slideLayout" Target="../slideLayouts/slideLayout7.xml"/><Relationship Id="rId3" Type="http://schemas.openxmlformats.org/officeDocument/2006/relationships/notesSlide" Target="../notesSlides/notesSlide73.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01.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2.xml"/></Relationships>
</file>

<file path=ppt/slides/_rels/slide340.xml.rels><?xml version='1.0' encoding='UTF-8' standalone='yes'?>
<Relationships xmlns="http://schemas.openxmlformats.org/package/2006/relationships"><Relationship Id="rId1" Type="http://schemas.openxmlformats.org/officeDocument/2006/relationships/tags" Target="../tags/tag367.xml"/><Relationship Id="rId2" Type="http://schemas.openxmlformats.org/officeDocument/2006/relationships/slideLayout" Target="../slideLayouts/slideLayout7.xml"/><Relationship Id="rId3" Type="http://schemas.openxmlformats.org/officeDocument/2006/relationships/notesSlide" Target="../notesSlides/notesSlide74.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02.xml"/></Relationships>
</file>

<file path=ppt/slides/_rels/slide341.xml.rels><?xml version='1.0' encoding='UTF-8' standalone='yes'?>
<Relationships xmlns="http://schemas.openxmlformats.org/package/2006/relationships"><Relationship Id="rId1" Type="http://schemas.openxmlformats.org/officeDocument/2006/relationships/tags" Target="../tags/tag368.xml"/><Relationship Id="rId2" Type="http://schemas.openxmlformats.org/officeDocument/2006/relationships/slideLayout" Target="../slideLayouts/slideLayout7.xml"/><Relationship Id="rId3" Type="http://schemas.openxmlformats.org/officeDocument/2006/relationships/notesSlide" Target="../notesSlides/notesSlide75.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03.xml"/></Relationships>
</file>

<file path=ppt/slides/_rels/slide342.xml.rels><?xml version='1.0' encoding='UTF-8' standalone='yes'?>
<Relationships xmlns="http://schemas.openxmlformats.org/package/2006/relationships"><Relationship Id="rId1" Type="http://schemas.openxmlformats.org/officeDocument/2006/relationships/tags" Target="../tags/tag369.xml"/><Relationship Id="rId2" Type="http://schemas.openxmlformats.org/officeDocument/2006/relationships/slideLayout" Target="../slideLayouts/slideLayout7.xml"/><Relationship Id="rId3" Type="http://schemas.openxmlformats.org/officeDocument/2006/relationships/notesSlide" Target="../notesSlides/notesSlide76.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04.xml"/></Relationships>
</file>

<file path=ppt/slides/_rels/slide343.xml.rels><?xml version='1.0' encoding='UTF-8' standalone='yes'?>
<Relationships xmlns="http://schemas.openxmlformats.org/package/2006/relationships"><Relationship Id="rId1" Type="http://schemas.openxmlformats.org/officeDocument/2006/relationships/tags" Target="../tags/tag370.xml"/><Relationship Id="rId2" Type="http://schemas.openxmlformats.org/officeDocument/2006/relationships/slideLayout" Target="../slideLayouts/slideLayout7.xml"/><Relationship Id="rId3" Type="http://schemas.openxmlformats.org/officeDocument/2006/relationships/notesSlide" Target="../notesSlides/notesSlide77.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05.xml"/></Relationships>
</file>

<file path=ppt/slides/_rels/slide344.xml.rels><?xml version='1.0' encoding='UTF-8' standalone='yes'?>
<Relationships xmlns="http://schemas.openxmlformats.org/package/2006/relationships"><Relationship Id="rId1" Type="http://schemas.openxmlformats.org/officeDocument/2006/relationships/tags" Target="../tags/tag371.xml"/><Relationship Id="rId2" Type="http://schemas.openxmlformats.org/officeDocument/2006/relationships/slideLayout" Target="../slideLayouts/slideLayout7.xml"/><Relationship Id="rId3" Type="http://schemas.openxmlformats.org/officeDocument/2006/relationships/notesSlide" Target="../notesSlides/notesSlide78.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06.xml"/></Relationships>
</file>

<file path=ppt/slides/_rels/slide345.xml.rels><?xml version='1.0' encoding='UTF-8' standalone='yes'?>
<Relationships xmlns="http://schemas.openxmlformats.org/package/2006/relationships"><Relationship Id="rId1" Type="http://schemas.openxmlformats.org/officeDocument/2006/relationships/tags" Target="../tags/tag372.xml"/><Relationship Id="rId2" Type="http://schemas.openxmlformats.org/officeDocument/2006/relationships/slideLayout" Target="../slideLayouts/slideLayout7.xml"/><Relationship Id="rId3" Type="http://schemas.openxmlformats.org/officeDocument/2006/relationships/notesSlide" Target="../notesSlides/notesSlide79.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07.xml"/></Relationships>
</file>

<file path=ppt/slides/_rels/slide346.xml.rels><?xml version='1.0' encoding='UTF-8' standalone='yes'?>
<Relationships xmlns="http://schemas.openxmlformats.org/package/2006/relationships"><Relationship Id="rId1" Type="http://schemas.openxmlformats.org/officeDocument/2006/relationships/tags" Target="../tags/tag373.xml"/><Relationship Id="rId2" Type="http://schemas.openxmlformats.org/officeDocument/2006/relationships/slideLayout" Target="../slideLayouts/slideLayout7.xml"/><Relationship Id="rId3" Type="http://schemas.openxmlformats.org/officeDocument/2006/relationships/notesSlide" Target="../notesSlides/notesSlide80.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08.xml"/></Relationships>
</file>

<file path=ppt/slides/_rels/slide347.xml.rels><?xml version='1.0' encoding='UTF-8' standalone='yes'?>
<Relationships xmlns="http://schemas.openxmlformats.org/package/2006/relationships"><Relationship Id="rId1" Type="http://schemas.openxmlformats.org/officeDocument/2006/relationships/tags" Target="../tags/tag374.xml"/><Relationship Id="rId2" Type="http://schemas.openxmlformats.org/officeDocument/2006/relationships/slideLayout" Target="../slideLayouts/slideLayout7.xml"/><Relationship Id="rId3" Type="http://schemas.openxmlformats.org/officeDocument/2006/relationships/notesSlide" Target="../notesSlides/notesSlide81.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09.xml"/></Relationships>
</file>

<file path=ppt/slides/_rels/slide348.xml.rels><?xml version='1.0' encoding='UTF-8' standalone='yes'?>
<Relationships xmlns="http://schemas.openxmlformats.org/package/2006/relationships"><Relationship Id="rId1" Type="http://schemas.openxmlformats.org/officeDocument/2006/relationships/tags" Target="../tags/tag375.xml"/><Relationship Id="rId2" Type="http://schemas.openxmlformats.org/officeDocument/2006/relationships/slideLayout" Target="../slideLayouts/slideLayout7.xml"/><Relationship Id="rId3" Type="http://schemas.openxmlformats.org/officeDocument/2006/relationships/notesSlide" Target="../notesSlides/notesSlide82.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10.xml"/></Relationships>
</file>

<file path=ppt/slides/_rels/slide349.xml.rels><?xml version='1.0' encoding='UTF-8' standalone='yes'?>
<Relationships xmlns="http://schemas.openxmlformats.org/package/2006/relationships"><Relationship Id="rId1" Type="http://schemas.openxmlformats.org/officeDocument/2006/relationships/tags" Target="../tags/tag376.xml"/><Relationship Id="rId2" Type="http://schemas.openxmlformats.org/officeDocument/2006/relationships/slideLayout" Target="../slideLayouts/slideLayout7.xml"/><Relationship Id="rId3" Type="http://schemas.openxmlformats.org/officeDocument/2006/relationships/notesSlide" Target="../notesSlides/notesSlide83.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11.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3.xml"/><Relationship Id="rId6" Type="http://schemas.openxmlformats.org/officeDocument/2006/relationships/chart" Target="../charts/chart94.xml"/><Relationship Id="rId7" Type="http://schemas.openxmlformats.org/officeDocument/2006/relationships/chart" Target="../charts/chart95.xml"/><Relationship Id="rId8" Type="http://schemas.openxmlformats.org/officeDocument/2006/relationships/chart" Target="../charts/chart96.xml"/></Relationships>
</file>

<file path=ppt/slides/_rels/slide350.xml.rels><?xml version='1.0' encoding='UTF-8' standalone='yes'?>
<Relationships xmlns="http://schemas.openxmlformats.org/package/2006/relationships"><Relationship Id="rId1" Type="http://schemas.openxmlformats.org/officeDocument/2006/relationships/tags" Target="../tags/tag377.xml"/><Relationship Id="rId2" Type="http://schemas.openxmlformats.org/officeDocument/2006/relationships/slideLayout" Target="../slideLayouts/slideLayout7.xml"/><Relationship Id="rId3" Type="http://schemas.openxmlformats.org/officeDocument/2006/relationships/notesSlide" Target="../notesSlides/notesSlide84.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12.xml"/></Relationships>
</file>

<file path=ppt/slides/_rels/slide351.xml.rels><?xml version='1.0' encoding='UTF-8' standalone='yes'?>
<Relationships xmlns="http://schemas.openxmlformats.org/package/2006/relationships"><Relationship Id="rId1" Type="http://schemas.openxmlformats.org/officeDocument/2006/relationships/tags" Target="../tags/tag378.xml"/><Relationship Id="rId2" Type="http://schemas.openxmlformats.org/officeDocument/2006/relationships/slideLayout" Target="../slideLayouts/slideLayout7.xml"/><Relationship Id="rId3" Type="http://schemas.openxmlformats.org/officeDocument/2006/relationships/notesSlide" Target="../notesSlides/notesSlide85.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13.xml"/></Relationships>
</file>

<file path=ppt/slides/_rels/slide352.xml.rels><?xml version='1.0' encoding='UTF-8' standalone='yes'?>
<Relationships xmlns="http://schemas.openxmlformats.org/package/2006/relationships"><Relationship Id="rId1" Type="http://schemas.openxmlformats.org/officeDocument/2006/relationships/tags" Target="../tags/tag379.xml"/><Relationship Id="rId2" Type="http://schemas.openxmlformats.org/officeDocument/2006/relationships/slideLayout" Target="../slideLayouts/slideLayout7.xml"/><Relationship Id="rId3" Type="http://schemas.openxmlformats.org/officeDocument/2006/relationships/notesSlide" Target="../notesSlides/notesSlide86.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14.xml"/></Relationships>
</file>

<file path=ppt/slides/_rels/slide353.xml.rels><?xml version='1.0' encoding='UTF-8' standalone='yes'?>
<Relationships xmlns="http://schemas.openxmlformats.org/package/2006/relationships"><Relationship Id="rId1" Type="http://schemas.openxmlformats.org/officeDocument/2006/relationships/tags" Target="../tags/tag380.xml"/><Relationship Id="rId2" Type="http://schemas.openxmlformats.org/officeDocument/2006/relationships/slideLayout" Target="../slideLayouts/slideLayout7.xml"/><Relationship Id="rId3" Type="http://schemas.openxmlformats.org/officeDocument/2006/relationships/notesSlide" Target="../notesSlides/notesSlide87.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15.xml"/></Relationships>
</file>

<file path=ppt/slides/_rels/slide354.xml.rels><?xml version='1.0' encoding='UTF-8' standalone='yes'?>
<Relationships xmlns="http://schemas.openxmlformats.org/package/2006/relationships"><Relationship Id="rId1" Type="http://schemas.openxmlformats.org/officeDocument/2006/relationships/tags" Target="../tags/tag381.xml"/><Relationship Id="rId2" Type="http://schemas.openxmlformats.org/officeDocument/2006/relationships/slideLayout" Target="../slideLayouts/slideLayout7.xml"/><Relationship Id="rId3" Type="http://schemas.openxmlformats.org/officeDocument/2006/relationships/notesSlide" Target="../notesSlides/notesSlide88.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16.xml"/></Relationships>
</file>

<file path=ppt/slides/_rels/slide355.xml.rels><?xml version='1.0' encoding='UTF-8' standalone='yes'?>
<Relationships xmlns="http://schemas.openxmlformats.org/package/2006/relationships"><Relationship Id="rId1" Type="http://schemas.openxmlformats.org/officeDocument/2006/relationships/tags" Target="../tags/tag382.xml"/><Relationship Id="rId2" Type="http://schemas.openxmlformats.org/officeDocument/2006/relationships/slideLayout" Target="../slideLayouts/slideLayout7.xml"/><Relationship Id="rId3" Type="http://schemas.openxmlformats.org/officeDocument/2006/relationships/notesSlide" Target="../notesSlides/notesSlide89.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17.xml"/></Relationships>
</file>

<file path=ppt/slides/_rels/slide356.xml.rels><?xml version='1.0' encoding='UTF-8' standalone='yes'?>
<Relationships xmlns="http://schemas.openxmlformats.org/package/2006/relationships"><Relationship Id="rId1" Type="http://schemas.openxmlformats.org/officeDocument/2006/relationships/tags" Target="../tags/tag383.xml"/><Relationship Id="rId2" Type="http://schemas.openxmlformats.org/officeDocument/2006/relationships/slideLayout" Target="../slideLayouts/slideLayout7.xml"/><Relationship Id="rId3" Type="http://schemas.openxmlformats.org/officeDocument/2006/relationships/notesSlide" Target="../notesSlides/notesSlide90.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18.xml"/></Relationships>
</file>

<file path=ppt/slides/_rels/slide357.xml.rels><?xml version='1.0' encoding='UTF-8' standalone='yes'?>
<Relationships xmlns="http://schemas.openxmlformats.org/package/2006/relationships"><Relationship Id="rId1" Type="http://schemas.openxmlformats.org/officeDocument/2006/relationships/tags" Target="../tags/tag384.xml"/><Relationship Id="rId2" Type="http://schemas.openxmlformats.org/officeDocument/2006/relationships/slideLayout" Target="../slideLayouts/slideLayout7.xml"/><Relationship Id="rId3" Type="http://schemas.openxmlformats.org/officeDocument/2006/relationships/notesSlide" Target="../notesSlides/notesSlide91.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19.xml"/></Relationships>
</file>

<file path=ppt/slides/_rels/slide358.xml.rels><?xml version='1.0' encoding='UTF-8' standalone='yes'?>
<Relationships xmlns="http://schemas.openxmlformats.org/package/2006/relationships"><Relationship Id="rId1" Type="http://schemas.openxmlformats.org/officeDocument/2006/relationships/tags" Target="../tags/tag385.xml"/><Relationship Id="rId2" Type="http://schemas.openxmlformats.org/officeDocument/2006/relationships/slideLayout" Target="../slideLayouts/slideLayout7.xml"/><Relationship Id="rId3" Type="http://schemas.openxmlformats.org/officeDocument/2006/relationships/notesSlide" Target="../notesSlides/notesSlide92.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20.xml"/></Relationships>
</file>

<file path=ppt/slides/_rels/slide359.xml.rels><?xml version='1.0' encoding='UTF-8' standalone='yes'?>
<Relationships xmlns="http://schemas.openxmlformats.org/package/2006/relationships"><Relationship Id="rId1" Type="http://schemas.openxmlformats.org/officeDocument/2006/relationships/tags" Target="../tags/tag386.xml"/><Relationship Id="rId2" Type="http://schemas.openxmlformats.org/officeDocument/2006/relationships/slideLayout" Target="../slideLayouts/slideLayout7.xml"/><Relationship Id="rId3" Type="http://schemas.openxmlformats.org/officeDocument/2006/relationships/notesSlide" Target="../notesSlides/notesSlide93.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21.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7.xml"/></Relationships>
</file>

<file path=ppt/slides/_rels/slide360.xml.rels><?xml version='1.0' encoding='UTF-8' standalone='yes'?>
<Relationships xmlns="http://schemas.openxmlformats.org/package/2006/relationships"><Relationship Id="rId1" Type="http://schemas.openxmlformats.org/officeDocument/2006/relationships/tags" Target="../tags/tag387.xml"/><Relationship Id="rId2" Type="http://schemas.openxmlformats.org/officeDocument/2006/relationships/slideLayout" Target="../slideLayouts/slideLayout7.xml"/><Relationship Id="rId3" Type="http://schemas.openxmlformats.org/officeDocument/2006/relationships/notesSlide" Target="../notesSlides/notesSlide94.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22.xml"/></Relationships>
</file>

<file path=ppt/slides/_rels/slide361.xml.rels><?xml version='1.0' encoding='UTF-8' standalone='yes'?>
<Relationships xmlns="http://schemas.openxmlformats.org/package/2006/relationships"><Relationship Id="rId1" Type="http://schemas.openxmlformats.org/officeDocument/2006/relationships/tags" Target="../tags/tag388.xml"/><Relationship Id="rId2" Type="http://schemas.openxmlformats.org/officeDocument/2006/relationships/slideLayout" Target="../slideLayouts/slideLayout7.xml"/><Relationship Id="rId3" Type="http://schemas.openxmlformats.org/officeDocument/2006/relationships/notesSlide" Target="../notesSlides/notesSlide95.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23.xml"/></Relationships>
</file>

<file path=ppt/slides/_rels/slide362.xml.rels><?xml version='1.0' encoding='UTF-8' standalone='yes'?>
<Relationships xmlns="http://schemas.openxmlformats.org/package/2006/relationships"><Relationship Id="rId1" Type="http://schemas.openxmlformats.org/officeDocument/2006/relationships/tags" Target="../tags/tag389.xml"/><Relationship Id="rId2" Type="http://schemas.openxmlformats.org/officeDocument/2006/relationships/slideLayout" Target="../slideLayouts/slideLayout7.xml"/><Relationship Id="rId3" Type="http://schemas.openxmlformats.org/officeDocument/2006/relationships/notesSlide" Target="../notesSlides/notesSlide96.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24.xml"/></Relationships>
</file>

<file path=ppt/slides/_rels/slide363.xml.rels><?xml version='1.0' encoding='UTF-8' standalone='yes'?>
<Relationships xmlns="http://schemas.openxmlformats.org/package/2006/relationships"><Relationship Id="rId1" Type="http://schemas.openxmlformats.org/officeDocument/2006/relationships/tags" Target="../tags/tag390.xml"/><Relationship Id="rId2" Type="http://schemas.openxmlformats.org/officeDocument/2006/relationships/slideLayout" Target="../slideLayouts/slideLayout7.xml"/><Relationship Id="rId3" Type="http://schemas.openxmlformats.org/officeDocument/2006/relationships/notesSlide" Target="../notesSlides/notesSlide97.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25.xml"/></Relationships>
</file>

<file path=ppt/slides/_rels/slide364.xml.rels><?xml version='1.0' encoding='UTF-8' standalone='yes'?>
<Relationships xmlns="http://schemas.openxmlformats.org/package/2006/relationships"><Relationship Id="rId1" Type="http://schemas.openxmlformats.org/officeDocument/2006/relationships/tags" Target="../tags/tag391.xml"/><Relationship Id="rId2" Type="http://schemas.openxmlformats.org/officeDocument/2006/relationships/slideLayout" Target="../slideLayouts/slideLayout7.xml"/><Relationship Id="rId3" Type="http://schemas.openxmlformats.org/officeDocument/2006/relationships/notesSlide" Target="../notesSlides/notesSlide98.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26.xml"/></Relationships>
</file>

<file path=ppt/slides/_rels/slide365.xml.rels><?xml version='1.0' encoding='UTF-8' standalone='yes'?>
<Relationships xmlns="http://schemas.openxmlformats.org/package/2006/relationships"><Relationship Id="rId1" Type="http://schemas.openxmlformats.org/officeDocument/2006/relationships/tags" Target="../tags/tag392.xml"/><Relationship Id="rId2" Type="http://schemas.openxmlformats.org/officeDocument/2006/relationships/slideLayout" Target="../slideLayouts/slideLayout7.xml"/><Relationship Id="rId3" Type="http://schemas.openxmlformats.org/officeDocument/2006/relationships/notesSlide" Target="../notesSlides/notesSlide99.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27.xml"/></Relationships>
</file>

<file path=ppt/slides/_rels/slide366.xml.rels><?xml version='1.0' encoding='UTF-8' standalone='yes'?>
<Relationships xmlns="http://schemas.openxmlformats.org/package/2006/relationships"><Relationship Id="rId1" Type="http://schemas.openxmlformats.org/officeDocument/2006/relationships/tags" Target="../tags/tag393.xml"/><Relationship Id="rId2" Type="http://schemas.openxmlformats.org/officeDocument/2006/relationships/slideLayout" Target="../slideLayouts/slideLayout7.xml"/><Relationship Id="rId3" Type="http://schemas.openxmlformats.org/officeDocument/2006/relationships/notesSlide" Target="../notesSlides/notesSlide100.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28.xml"/></Relationships>
</file>

<file path=ppt/slides/_rels/slide367.xml.rels><?xml version='1.0' encoding='UTF-8' standalone='yes'?>
<Relationships xmlns="http://schemas.openxmlformats.org/package/2006/relationships"><Relationship Id="rId1" Type="http://schemas.openxmlformats.org/officeDocument/2006/relationships/tags" Target="../tags/tag394.xml"/><Relationship Id="rId2" Type="http://schemas.openxmlformats.org/officeDocument/2006/relationships/slideLayout" Target="../slideLayouts/slideLayout7.xml"/><Relationship Id="rId3" Type="http://schemas.openxmlformats.org/officeDocument/2006/relationships/notesSlide" Target="../notesSlides/notesSlide101.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29.xml"/></Relationships>
</file>

<file path=ppt/slides/_rels/slide368.xml.rels><?xml version='1.0' encoding='UTF-8' standalone='yes'?>
<Relationships xmlns="http://schemas.openxmlformats.org/package/2006/relationships"><Relationship Id="rId1" Type="http://schemas.openxmlformats.org/officeDocument/2006/relationships/tags" Target="../tags/tag395.xml"/><Relationship Id="rId2" Type="http://schemas.openxmlformats.org/officeDocument/2006/relationships/slideLayout" Target="../slideLayouts/slideLayout7.xml"/><Relationship Id="rId3" Type="http://schemas.openxmlformats.org/officeDocument/2006/relationships/notesSlide" Target="../notesSlides/notesSlide102.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30.xml"/></Relationships>
</file>

<file path=ppt/slides/_rels/slide369.xml.rels><?xml version='1.0' encoding='UTF-8' standalone='yes'?>
<Relationships xmlns="http://schemas.openxmlformats.org/package/2006/relationships"><Relationship Id="rId1" Type="http://schemas.openxmlformats.org/officeDocument/2006/relationships/tags" Target="../tags/tag396.xml"/><Relationship Id="rId2" Type="http://schemas.openxmlformats.org/officeDocument/2006/relationships/slideLayout" Target="../slideLayouts/slideLayout7.xml"/><Relationship Id="rId3" Type="http://schemas.openxmlformats.org/officeDocument/2006/relationships/notesSlide" Target="../notesSlides/notesSlide103.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31.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8.xml"/><Relationship Id="rId6" Type="http://schemas.openxmlformats.org/officeDocument/2006/relationships/chart" Target="../charts/chart99.xml"/><Relationship Id="rId7" Type="http://schemas.openxmlformats.org/officeDocument/2006/relationships/chart" Target="../charts/chart100.xml"/><Relationship Id="rId8" Type="http://schemas.openxmlformats.org/officeDocument/2006/relationships/chart" Target="../charts/chart101.xml"/></Relationships>
</file>

<file path=ppt/slides/_rels/slide370.xml.rels><?xml version='1.0' encoding='UTF-8' standalone='yes'?>
<Relationships xmlns="http://schemas.openxmlformats.org/package/2006/relationships"><Relationship Id="rId1" Type="http://schemas.openxmlformats.org/officeDocument/2006/relationships/tags" Target="../tags/tag397.xml"/><Relationship Id="rId2" Type="http://schemas.openxmlformats.org/officeDocument/2006/relationships/slideLayout" Target="../slideLayouts/slideLayout7.xml"/><Relationship Id="rId3" Type="http://schemas.openxmlformats.org/officeDocument/2006/relationships/notesSlide" Target="../notesSlides/notesSlide104.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32.xml"/></Relationships>
</file>

<file path=ppt/slides/_rels/slide371.xml.rels><?xml version='1.0' encoding='UTF-8' standalone='yes'?>
<Relationships xmlns="http://schemas.openxmlformats.org/package/2006/relationships"><Relationship Id="rId1" Type="http://schemas.openxmlformats.org/officeDocument/2006/relationships/tags" Target="../tags/tag398.xml"/><Relationship Id="rId2" Type="http://schemas.openxmlformats.org/officeDocument/2006/relationships/slideLayout" Target="../slideLayouts/slideLayout7.xml"/><Relationship Id="rId3" Type="http://schemas.openxmlformats.org/officeDocument/2006/relationships/notesSlide" Target="../notesSlides/notesSlide105.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33.xml"/></Relationships>
</file>

<file path=ppt/slides/_rels/slide372.xml.rels><?xml version='1.0' encoding='UTF-8' standalone='yes'?>
<Relationships xmlns="http://schemas.openxmlformats.org/package/2006/relationships"><Relationship Id="rId1" Type="http://schemas.openxmlformats.org/officeDocument/2006/relationships/tags" Target="../tags/tag399.xml"/><Relationship Id="rId2" Type="http://schemas.openxmlformats.org/officeDocument/2006/relationships/slideLayout" Target="../slideLayouts/slideLayout7.xml"/><Relationship Id="rId3" Type="http://schemas.openxmlformats.org/officeDocument/2006/relationships/notesSlide" Target="../notesSlides/notesSlide106.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34.xml"/></Relationships>
</file>

<file path=ppt/slides/_rels/slide373.xml.rels><?xml version='1.0' encoding='UTF-8' standalone='yes'?>
<Relationships xmlns="http://schemas.openxmlformats.org/package/2006/relationships"><Relationship Id="rId1" Type="http://schemas.openxmlformats.org/officeDocument/2006/relationships/tags" Target="../tags/tag400.xml"/><Relationship Id="rId2" Type="http://schemas.openxmlformats.org/officeDocument/2006/relationships/slideLayout" Target="../slideLayouts/slideLayout7.xml"/><Relationship Id="rId3" Type="http://schemas.openxmlformats.org/officeDocument/2006/relationships/notesSlide" Target="../notesSlides/notesSlide107.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35.xml"/></Relationships>
</file>

<file path=ppt/slides/_rels/slide374.xml.rels><?xml version='1.0' encoding='UTF-8' standalone='yes'?>
<Relationships xmlns="http://schemas.openxmlformats.org/package/2006/relationships"><Relationship Id="rId1" Type="http://schemas.openxmlformats.org/officeDocument/2006/relationships/tags" Target="../tags/tag401.xml"/><Relationship Id="rId2" Type="http://schemas.openxmlformats.org/officeDocument/2006/relationships/slideLayout" Target="../slideLayouts/slideLayout7.xml"/><Relationship Id="rId3" Type="http://schemas.openxmlformats.org/officeDocument/2006/relationships/notesSlide" Target="../notesSlides/notesSlide108.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36.xml"/></Relationships>
</file>

<file path=ppt/slides/_rels/slide375.xml.rels><?xml version='1.0' encoding='UTF-8' standalone='yes'?>
<Relationships xmlns="http://schemas.openxmlformats.org/package/2006/relationships"><Relationship Id="rId1" Type="http://schemas.openxmlformats.org/officeDocument/2006/relationships/tags" Target="../tags/tag402.xml"/><Relationship Id="rId2" Type="http://schemas.openxmlformats.org/officeDocument/2006/relationships/slideLayout" Target="../slideLayouts/slideLayout7.xml"/><Relationship Id="rId3" Type="http://schemas.openxmlformats.org/officeDocument/2006/relationships/notesSlide" Target="../notesSlides/notesSlide109.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37.xml"/></Relationships>
</file>

<file path=ppt/slides/_rels/slide376.xml.rels><?xml version='1.0' encoding='UTF-8' standalone='yes'?>
<Relationships xmlns="http://schemas.openxmlformats.org/package/2006/relationships"><Relationship Id="rId1" Type="http://schemas.openxmlformats.org/officeDocument/2006/relationships/tags" Target="../tags/tag403.xml"/><Relationship Id="rId2" Type="http://schemas.openxmlformats.org/officeDocument/2006/relationships/slideLayout" Target="../slideLayouts/slideLayout7.xml"/><Relationship Id="rId3" Type="http://schemas.openxmlformats.org/officeDocument/2006/relationships/notesSlide" Target="../notesSlides/notesSlide110.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38.xml"/></Relationships>
</file>

<file path=ppt/slides/_rels/slide377.xml.rels><?xml version='1.0' encoding='UTF-8' standalone='yes'?>
<Relationships xmlns="http://schemas.openxmlformats.org/package/2006/relationships"><Relationship Id="rId1" Type="http://schemas.openxmlformats.org/officeDocument/2006/relationships/tags" Target="../tags/tag404.xml"/><Relationship Id="rId2" Type="http://schemas.openxmlformats.org/officeDocument/2006/relationships/slideLayout" Target="../slideLayouts/slideLayout7.xml"/><Relationship Id="rId3" Type="http://schemas.openxmlformats.org/officeDocument/2006/relationships/notesSlide" Target="../notesSlides/notesSlide111.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39.xml"/></Relationships>
</file>

<file path=ppt/slides/_rels/slide378.xml.rels><?xml version='1.0' encoding='UTF-8' standalone='yes'?>
<Relationships xmlns="http://schemas.openxmlformats.org/package/2006/relationships"><Relationship Id="rId1" Type="http://schemas.openxmlformats.org/officeDocument/2006/relationships/tags" Target="../tags/tag405.xml"/><Relationship Id="rId2" Type="http://schemas.openxmlformats.org/officeDocument/2006/relationships/slideLayout" Target="../slideLayouts/slideLayout7.xml"/><Relationship Id="rId3" Type="http://schemas.openxmlformats.org/officeDocument/2006/relationships/notesSlide" Target="../notesSlides/notesSlide112.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40.xml"/></Relationships>
</file>

<file path=ppt/slides/_rels/slide379.xml.rels><?xml version='1.0' encoding='UTF-8' standalone='yes'?>
<Relationships xmlns="http://schemas.openxmlformats.org/package/2006/relationships"><Relationship Id="rId1" Type="http://schemas.openxmlformats.org/officeDocument/2006/relationships/tags" Target="../tags/tag406.xml"/><Relationship Id="rId2" Type="http://schemas.openxmlformats.org/officeDocument/2006/relationships/slideLayout" Target="../slideLayouts/slideLayout7.xml"/><Relationship Id="rId3" Type="http://schemas.openxmlformats.org/officeDocument/2006/relationships/notesSlide" Target="../notesSlides/notesSlide113.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41.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2.xml"/></Relationships>
</file>

<file path=ppt/slides/_rels/slide380.xml.rels><?xml version='1.0' encoding='UTF-8' standalone='yes'?>
<Relationships xmlns="http://schemas.openxmlformats.org/package/2006/relationships"><Relationship Id="rId1" Type="http://schemas.openxmlformats.org/officeDocument/2006/relationships/tags" Target="../tags/tag407.xml"/><Relationship Id="rId2" Type="http://schemas.openxmlformats.org/officeDocument/2006/relationships/slideLayout" Target="../slideLayouts/slideLayout7.xml"/><Relationship Id="rId3" Type="http://schemas.openxmlformats.org/officeDocument/2006/relationships/notesSlide" Target="../notesSlides/notesSlide114.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42.xml"/></Relationships>
</file>

<file path=ppt/slides/_rels/slide381.xml.rels><?xml version='1.0' encoding='UTF-8' standalone='yes'?>
<Relationships xmlns="http://schemas.openxmlformats.org/package/2006/relationships"><Relationship Id="rId1" Type="http://schemas.openxmlformats.org/officeDocument/2006/relationships/tags" Target="../tags/tag408.xml"/><Relationship Id="rId2" Type="http://schemas.openxmlformats.org/officeDocument/2006/relationships/slideLayout" Target="../slideLayouts/slideLayout7.xml"/><Relationship Id="rId3" Type="http://schemas.openxmlformats.org/officeDocument/2006/relationships/notesSlide" Target="../notesSlides/notesSlide115.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43.xml"/></Relationships>
</file>

<file path=ppt/slides/_rels/slide382.xml.rels><?xml version='1.0' encoding='UTF-8' standalone='yes'?>
<Relationships xmlns="http://schemas.openxmlformats.org/package/2006/relationships"><Relationship Id="rId1" Type="http://schemas.openxmlformats.org/officeDocument/2006/relationships/tags" Target="../tags/tag409.xml"/><Relationship Id="rId2" Type="http://schemas.openxmlformats.org/officeDocument/2006/relationships/slideLayout" Target="../slideLayouts/slideLayout7.xml"/><Relationship Id="rId3" Type="http://schemas.openxmlformats.org/officeDocument/2006/relationships/notesSlide" Target="../notesSlides/notesSlide116.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44.xml"/></Relationships>
</file>

<file path=ppt/slides/_rels/slide383.xml.rels><?xml version='1.0' encoding='UTF-8' standalone='yes'?>
<Relationships xmlns="http://schemas.openxmlformats.org/package/2006/relationships"><Relationship Id="rId1" Type="http://schemas.openxmlformats.org/officeDocument/2006/relationships/tags" Target="../tags/tag410.xml"/><Relationship Id="rId2" Type="http://schemas.openxmlformats.org/officeDocument/2006/relationships/slideLayout" Target="../slideLayouts/slideLayout7.xml"/><Relationship Id="rId3" Type="http://schemas.openxmlformats.org/officeDocument/2006/relationships/notesSlide" Target="../notesSlides/notesSlide117.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45.xml"/></Relationships>
</file>

<file path=ppt/slides/_rels/slide384.xml.rels><?xml version='1.0' encoding='UTF-8' standalone='yes'?>
<Relationships xmlns="http://schemas.openxmlformats.org/package/2006/relationships"><Relationship Id="rId1" Type="http://schemas.openxmlformats.org/officeDocument/2006/relationships/tags" Target="../tags/tag411.xml"/><Relationship Id="rId2" Type="http://schemas.openxmlformats.org/officeDocument/2006/relationships/slideLayout" Target="../slideLayouts/slideLayout7.xml"/><Relationship Id="rId3" Type="http://schemas.openxmlformats.org/officeDocument/2006/relationships/notesSlide" Target="../notesSlides/notesSlide118.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46.xml"/></Relationships>
</file>

<file path=ppt/slides/_rels/slide385.xml.rels><?xml version='1.0' encoding='UTF-8' standalone='yes'?>
<Relationships xmlns="http://schemas.openxmlformats.org/package/2006/relationships"><Relationship Id="rId1" Type="http://schemas.openxmlformats.org/officeDocument/2006/relationships/tags" Target="../tags/tag412.xml"/><Relationship Id="rId2" Type="http://schemas.openxmlformats.org/officeDocument/2006/relationships/slideLayout" Target="../slideLayouts/slideLayout7.xml"/><Relationship Id="rId3" Type="http://schemas.openxmlformats.org/officeDocument/2006/relationships/notesSlide" Target="../notesSlides/notesSlide119.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47.xml"/></Relationships>
</file>

<file path=ppt/slides/_rels/slide386.xml.rels><?xml version='1.0' encoding='UTF-8' standalone='yes'?>
<Relationships xmlns="http://schemas.openxmlformats.org/package/2006/relationships"><Relationship Id="rId1" Type="http://schemas.openxmlformats.org/officeDocument/2006/relationships/tags" Target="../tags/tag413.xml"/><Relationship Id="rId2" Type="http://schemas.openxmlformats.org/officeDocument/2006/relationships/slideLayout" Target="../slideLayouts/slideLayout7.xml"/><Relationship Id="rId3" Type="http://schemas.openxmlformats.org/officeDocument/2006/relationships/notesSlide" Target="../notesSlides/notesSlide120.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48.xml"/></Relationships>
</file>

<file path=ppt/slides/_rels/slide387.xml.rels><?xml version='1.0' encoding='UTF-8' standalone='yes'?>
<Relationships xmlns="http://schemas.openxmlformats.org/package/2006/relationships"><Relationship Id="rId1" Type="http://schemas.openxmlformats.org/officeDocument/2006/relationships/tags" Target="../tags/tag414.xml"/><Relationship Id="rId2" Type="http://schemas.openxmlformats.org/officeDocument/2006/relationships/slideLayout" Target="../slideLayouts/slideLayout7.xml"/><Relationship Id="rId3" Type="http://schemas.openxmlformats.org/officeDocument/2006/relationships/notesSlide" Target="../notesSlides/notesSlide121.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49.xml"/></Relationships>
</file>

<file path=ppt/slides/_rels/slide388.xml.rels><?xml version='1.0' encoding='UTF-8' standalone='yes'?>
<Relationships xmlns="http://schemas.openxmlformats.org/package/2006/relationships"><Relationship Id="rId1" Type="http://schemas.openxmlformats.org/officeDocument/2006/relationships/tags" Target="../tags/tag415.xml"/><Relationship Id="rId2" Type="http://schemas.openxmlformats.org/officeDocument/2006/relationships/slideLayout" Target="../slideLayouts/slideLayout7.xml"/><Relationship Id="rId3" Type="http://schemas.openxmlformats.org/officeDocument/2006/relationships/notesSlide" Target="../notesSlides/notesSlide122.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50.xml"/></Relationships>
</file>

<file path=ppt/slides/_rels/slide389.xml.rels><?xml version='1.0' encoding='UTF-8' standalone='yes'?>
<Relationships xmlns="http://schemas.openxmlformats.org/package/2006/relationships"><Relationship Id="rId1" Type="http://schemas.openxmlformats.org/officeDocument/2006/relationships/tags" Target="../tags/tag416.xml"/><Relationship Id="rId2" Type="http://schemas.openxmlformats.org/officeDocument/2006/relationships/slideLayout" Target="../slideLayouts/slideLayout7.xml"/><Relationship Id="rId3" Type="http://schemas.openxmlformats.org/officeDocument/2006/relationships/notesSlide" Target="../notesSlides/notesSlide123.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51.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3.xml"/><Relationship Id="rId6" Type="http://schemas.openxmlformats.org/officeDocument/2006/relationships/chart" Target="../charts/chart104.xml"/><Relationship Id="rId7" Type="http://schemas.openxmlformats.org/officeDocument/2006/relationships/chart" Target="../charts/chart105.xml"/><Relationship Id="rId8" Type="http://schemas.openxmlformats.org/officeDocument/2006/relationships/chart" Target="../charts/chart106.xml"/></Relationships>
</file>

<file path=ppt/slides/_rels/slide390.xml.rels><?xml version='1.0' encoding='UTF-8' standalone='yes'?>
<Relationships xmlns="http://schemas.openxmlformats.org/package/2006/relationships"><Relationship Id="rId1" Type="http://schemas.openxmlformats.org/officeDocument/2006/relationships/tags" Target="../tags/tag417.xml"/><Relationship Id="rId2" Type="http://schemas.openxmlformats.org/officeDocument/2006/relationships/slideLayout" Target="../slideLayouts/slideLayout7.xml"/><Relationship Id="rId3" Type="http://schemas.openxmlformats.org/officeDocument/2006/relationships/notesSlide" Target="../notesSlides/notesSlide124.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52.xml"/></Relationships>
</file>

<file path=ppt/slides/_rels/slide391.xml.rels><?xml version='1.0' encoding='UTF-8' standalone='yes'?>
<Relationships xmlns="http://schemas.openxmlformats.org/package/2006/relationships"><Relationship Id="rId1" Type="http://schemas.openxmlformats.org/officeDocument/2006/relationships/tags" Target="../tags/tag418.xml"/><Relationship Id="rId2" Type="http://schemas.openxmlformats.org/officeDocument/2006/relationships/slideLayout" Target="../slideLayouts/slideLayout7.xml"/><Relationship Id="rId3" Type="http://schemas.openxmlformats.org/officeDocument/2006/relationships/notesSlide" Target="../notesSlides/notesSlide125.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53.xml"/></Relationships>
</file>

<file path=ppt/slides/_rels/slide392.xml.rels><?xml version='1.0' encoding='UTF-8' standalone='yes'?>
<Relationships xmlns="http://schemas.openxmlformats.org/package/2006/relationships"><Relationship Id="rId1" Type="http://schemas.openxmlformats.org/officeDocument/2006/relationships/tags" Target="../tags/tag419.xml"/><Relationship Id="rId2" Type="http://schemas.openxmlformats.org/officeDocument/2006/relationships/slideLayout" Target="../slideLayouts/slideLayout7.xml"/><Relationship Id="rId3" Type="http://schemas.openxmlformats.org/officeDocument/2006/relationships/notesSlide" Target="../notesSlides/notesSlide126.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54.xml"/></Relationships>
</file>

<file path=ppt/slides/_rels/slide393.xml.rels><?xml version='1.0' encoding='UTF-8' standalone='yes'?>
<Relationships xmlns="http://schemas.openxmlformats.org/package/2006/relationships"><Relationship Id="rId1" Type="http://schemas.openxmlformats.org/officeDocument/2006/relationships/tags" Target="../tags/tag420.xml"/><Relationship Id="rId2" Type="http://schemas.openxmlformats.org/officeDocument/2006/relationships/slideLayout" Target="../slideLayouts/slideLayout7.xml"/><Relationship Id="rId3" Type="http://schemas.openxmlformats.org/officeDocument/2006/relationships/notesSlide" Target="../notesSlides/notesSlide127.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55.xml"/></Relationships>
</file>

<file path=ppt/slides/_rels/slide394.xml.rels><?xml version='1.0' encoding='UTF-8' standalone='yes'?>
<Relationships xmlns="http://schemas.openxmlformats.org/package/2006/relationships"><Relationship Id="rId1" Type="http://schemas.openxmlformats.org/officeDocument/2006/relationships/tags" Target="../tags/tag421.xml"/><Relationship Id="rId2" Type="http://schemas.openxmlformats.org/officeDocument/2006/relationships/slideLayout" Target="../slideLayouts/slideLayout7.xml"/><Relationship Id="rId3" Type="http://schemas.openxmlformats.org/officeDocument/2006/relationships/notesSlide" Target="../notesSlides/notesSlide128.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56.xml"/></Relationships>
</file>

<file path=ppt/slides/_rels/slide395.xml.rels><?xml version='1.0' encoding='UTF-8' standalone='yes'?>
<Relationships xmlns="http://schemas.openxmlformats.org/package/2006/relationships"><Relationship Id="rId1" Type="http://schemas.openxmlformats.org/officeDocument/2006/relationships/tags" Target="../tags/tag422.xml"/><Relationship Id="rId2" Type="http://schemas.openxmlformats.org/officeDocument/2006/relationships/slideLayout" Target="../slideLayouts/slideLayout7.xml"/><Relationship Id="rId3" Type="http://schemas.openxmlformats.org/officeDocument/2006/relationships/notesSlide" Target="../notesSlides/notesSlide129.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57.xml"/></Relationships>
</file>

<file path=ppt/slides/_rels/slide396.xml.rels><?xml version='1.0' encoding='UTF-8' standalone='yes'?>
<Relationships xmlns="http://schemas.openxmlformats.org/package/2006/relationships"><Relationship Id="rId1" Type="http://schemas.openxmlformats.org/officeDocument/2006/relationships/tags" Target="../tags/tag423.xml"/><Relationship Id="rId2" Type="http://schemas.openxmlformats.org/officeDocument/2006/relationships/slideLayout" Target="../slideLayouts/slideLayout7.xml"/><Relationship Id="rId3" Type="http://schemas.openxmlformats.org/officeDocument/2006/relationships/notesSlide" Target="../notesSlides/notesSlide130.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58.xml"/></Relationships>
</file>

<file path=ppt/slides/_rels/slide397.xml.rels><?xml version='1.0' encoding='UTF-8' standalone='yes'?>
<Relationships xmlns="http://schemas.openxmlformats.org/package/2006/relationships"><Relationship Id="rId1" Type="http://schemas.openxmlformats.org/officeDocument/2006/relationships/tags" Target="../tags/tag424.xml"/><Relationship Id="rId2" Type="http://schemas.openxmlformats.org/officeDocument/2006/relationships/slideLayout" Target="../slideLayouts/slideLayout7.xml"/><Relationship Id="rId3" Type="http://schemas.openxmlformats.org/officeDocument/2006/relationships/notesSlide" Target="../notesSlides/notesSlide131.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59.xml"/></Relationships>
</file>

<file path=ppt/slides/_rels/slide398.xml.rels><?xml version='1.0' encoding='UTF-8' standalone='yes'?>
<Relationships xmlns="http://schemas.openxmlformats.org/package/2006/relationships"><Relationship Id="rId1" Type="http://schemas.openxmlformats.org/officeDocument/2006/relationships/tags" Target="../tags/tag425.xml"/><Relationship Id="rId2" Type="http://schemas.openxmlformats.org/officeDocument/2006/relationships/slideLayout" Target="../slideLayouts/slideLayout7.xml"/><Relationship Id="rId3" Type="http://schemas.openxmlformats.org/officeDocument/2006/relationships/notesSlide" Target="../notesSlides/notesSlide132.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60.xml"/></Relationships>
</file>

<file path=ppt/slides/_rels/slide399.xml.rels><?xml version='1.0' encoding='UTF-8' standalone='yes'?>
<Relationships xmlns="http://schemas.openxmlformats.org/package/2006/relationships"><Relationship Id="rId1" Type="http://schemas.openxmlformats.org/officeDocument/2006/relationships/tags" Target="../tags/tag426.xml"/><Relationship Id="rId2" Type="http://schemas.openxmlformats.org/officeDocument/2006/relationships/slideLayout" Target="../slideLayouts/slideLayout7.xml"/><Relationship Id="rId3" Type="http://schemas.openxmlformats.org/officeDocument/2006/relationships/notesSlide" Target="../notesSlides/notesSlide133.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61.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7.xml"/></Relationships>
</file>

<file path=ppt/slides/_rels/slide400.xml.rels><?xml version='1.0' encoding='UTF-8' standalone='yes'?>
<Relationships xmlns="http://schemas.openxmlformats.org/package/2006/relationships"><Relationship Id="rId1" Type="http://schemas.openxmlformats.org/officeDocument/2006/relationships/tags" Target="../tags/tag427.xml"/><Relationship Id="rId2" Type="http://schemas.openxmlformats.org/officeDocument/2006/relationships/slideLayout" Target="../slideLayouts/slideLayout7.xml"/><Relationship Id="rId3" Type="http://schemas.openxmlformats.org/officeDocument/2006/relationships/notesSlide" Target="../notesSlides/notesSlide134.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62.xml"/></Relationships>
</file>

<file path=ppt/slides/_rels/slide401.xml.rels><?xml version='1.0' encoding='UTF-8' standalone='yes'?>
<Relationships xmlns="http://schemas.openxmlformats.org/package/2006/relationships"><Relationship Id="rId1" Type="http://schemas.openxmlformats.org/officeDocument/2006/relationships/tags" Target="../tags/tag428.xml"/><Relationship Id="rId2" Type="http://schemas.openxmlformats.org/officeDocument/2006/relationships/slideLayout" Target="../slideLayouts/slideLayout7.xml"/><Relationship Id="rId3" Type="http://schemas.openxmlformats.org/officeDocument/2006/relationships/notesSlide" Target="../notesSlides/notesSlide135.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63.xml"/></Relationships>
</file>

<file path=ppt/slides/_rels/slide402.xml.rels><?xml version='1.0' encoding='UTF-8' standalone='yes'?>
<Relationships xmlns="http://schemas.openxmlformats.org/package/2006/relationships"><Relationship Id="rId1" Type="http://schemas.openxmlformats.org/officeDocument/2006/relationships/tags" Target="../tags/tag429.xml"/><Relationship Id="rId2" Type="http://schemas.openxmlformats.org/officeDocument/2006/relationships/slideLayout" Target="../slideLayouts/slideLayout7.xml"/><Relationship Id="rId3" Type="http://schemas.openxmlformats.org/officeDocument/2006/relationships/notesSlide" Target="../notesSlides/notesSlide136.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64.xml"/></Relationships>
</file>

<file path=ppt/slides/_rels/slide403.xml.rels><?xml version='1.0' encoding='UTF-8' standalone='yes'?>
<Relationships xmlns="http://schemas.openxmlformats.org/package/2006/relationships"><Relationship Id="rId1" Type="http://schemas.openxmlformats.org/officeDocument/2006/relationships/tags" Target="../tags/tag430.xml"/><Relationship Id="rId2" Type="http://schemas.openxmlformats.org/officeDocument/2006/relationships/slideLayout" Target="../slideLayouts/slideLayout7.xml"/><Relationship Id="rId3" Type="http://schemas.openxmlformats.org/officeDocument/2006/relationships/notesSlide" Target="../notesSlides/notesSlide137.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65.xml"/></Relationships>
</file>

<file path=ppt/slides/_rels/slide404.xml.rels><?xml version='1.0' encoding='UTF-8' standalone='yes'?>
<Relationships xmlns="http://schemas.openxmlformats.org/package/2006/relationships"><Relationship Id="rId1" Type="http://schemas.openxmlformats.org/officeDocument/2006/relationships/tags" Target="../tags/tag431.xml"/><Relationship Id="rId2" Type="http://schemas.openxmlformats.org/officeDocument/2006/relationships/slideLayout" Target="../slideLayouts/slideLayout7.xml"/><Relationship Id="rId3" Type="http://schemas.openxmlformats.org/officeDocument/2006/relationships/notesSlide" Target="../notesSlides/notesSlide138.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66.xml"/></Relationships>
</file>

<file path=ppt/slides/_rels/slide405.xml.rels><?xml version='1.0' encoding='UTF-8' standalone='yes'?>
<Relationships xmlns="http://schemas.openxmlformats.org/package/2006/relationships"><Relationship Id="rId1" Type="http://schemas.openxmlformats.org/officeDocument/2006/relationships/tags" Target="../tags/tag432.xml"/><Relationship Id="rId2" Type="http://schemas.openxmlformats.org/officeDocument/2006/relationships/slideLayout" Target="../slideLayouts/slideLayout7.xml"/><Relationship Id="rId3" Type="http://schemas.openxmlformats.org/officeDocument/2006/relationships/notesSlide" Target="../notesSlides/notesSlide139.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67.xml"/></Relationships>
</file>

<file path=ppt/slides/_rels/slide406.xml.rels><?xml version='1.0' encoding='UTF-8' standalone='yes'?>
<Relationships xmlns="http://schemas.openxmlformats.org/package/2006/relationships"><Relationship Id="rId1" Type="http://schemas.openxmlformats.org/officeDocument/2006/relationships/tags" Target="../tags/tag433.xml"/><Relationship Id="rId2" Type="http://schemas.openxmlformats.org/officeDocument/2006/relationships/slideLayout" Target="../slideLayouts/slideLayout7.xml"/><Relationship Id="rId3" Type="http://schemas.openxmlformats.org/officeDocument/2006/relationships/notesSlide" Target="../notesSlides/notesSlide140.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68.xml"/></Relationships>
</file>

<file path=ppt/slides/_rels/slide407.xml.rels><?xml version='1.0' encoding='UTF-8' standalone='yes'?>
<Relationships xmlns="http://schemas.openxmlformats.org/package/2006/relationships"><Relationship Id="rId1" Type="http://schemas.openxmlformats.org/officeDocument/2006/relationships/tags" Target="../tags/tag434.xml"/><Relationship Id="rId2" Type="http://schemas.openxmlformats.org/officeDocument/2006/relationships/slideLayout" Target="../slideLayouts/slideLayout7.xml"/><Relationship Id="rId3" Type="http://schemas.openxmlformats.org/officeDocument/2006/relationships/notesSlide" Target="../notesSlides/notesSlide141.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69.xml"/></Relationships>
</file>

<file path=ppt/slides/_rels/slide408.xml.rels><?xml version='1.0' encoding='UTF-8' standalone='yes'?>
<Relationships xmlns="http://schemas.openxmlformats.org/package/2006/relationships"><Relationship Id="rId1" Type="http://schemas.openxmlformats.org/officeDocument/2006/relationships/tags" Target="../tags/tag435.xml"/><Relationship Id="rId2" Type="http://schemas.openxmlformats.org/officeDocument/2006/relationships/slideLayout" Target="../slideLayouts/slideLayout7.xml"/><Relationship Id="rId3" Type="http://schemas.openxmlformats.org/officeDocument/2006/relationships/notesSlide" Target="../notesSlides/notesSlide142.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70.xml"/></Relationships>
</file>

<file path=ppt/slides/_rels/slide409.xml.rels><?xml version='1.0' encoding='UTF-8' standalone='yes'?>
<Relationships xmlns="http://schemas.openxmlformats.org/package/2006/relationships"><Relationship Id="rId1" Type="http://schemas.openxmlformats.org/officeDocument/2006/relationships/tags" Target="../tags/tag436.xml"/><Relationship Id="rId2" Type="http://schemas.openxmlformats.org/officeDocument/2006/relationships/slideLayout" Target="../slideLayouts/slideLayout7.xml"/><Relationship Id="rId3" Type="http://schemas.openxmlformats.org/officeDocument/2006/relationships/notesSlide" Target="../notesSlides/notesSlide143.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71.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8.xml"/><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s>
</file>

<file path=ppt/slides/_rels/slide410.xml.rels><?xml version='1.0' encoding='UTF-8' standalone='yes'?>
<Relationships xmlns="http://schemas.openxmlformats.org/package/2006/relationships"><Relationship Id="rId1" Type="http://schemas.openxmlformats.org/officeDocument/2006/relationships/tags" Target="../tags/tag437.xml"/><Relationship Id="rId2" Type="http://schemas.openxmlformats.org/officeDocument/2006/relationships/slideLayout" Target="../slideLayouts/slideLayout7.xml"/><Relationship Id="rId3" Type="http://schemas.openxmlformats.org/officeDocument/2006/relationships/notesSlide" Target="../notesSlides/notesSlide144.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72.xml"/></Relationships>
</file>

<file path=ppt/slides/_rels/slide411.xml.rels><?xml version='1.0' encoding='UTF-8' standalone='yes'?>
<Relationships xmlns="http://schemas.openxmlformats.org/package/2006/relationships"><Relationship Id="rId1" Type="http://schemas.openxmlformats.org/officeDocument/2006/relationships/tags" Target="../tags/tag438.xml"/><Relationship Id="rId2" Type="http://schemas.openxmlformats.org/officeDocument/2006/relationships/slideLayout" Target="../slideLayouts/slideLayout7.xml"/><Relationship Id="rId3" Type="http://schemas.openxmlformats.org/officeDocument/2006/relationships/notesSlide" Target="../notesSlides/notesSlide145.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73.xml"/></Relationships>
</file>

<file path=ppt/slides/_rels/slide412.xml.rels><?xml version='1.0' encoding='UTF-8' standalone='yes'?>
<Relationships xmlns="http://schemas.openxmlformats.org/package/2006/relationships"><Relationship Id="rId1" Type="http://schemas.openxmlformats.org/officeDocument/2006/relationships/tags" Target="../tags/tag439.xml"/><Relationship Id="rId2" Type="http://schemas.openxmlformats.org/officeDocument/2006/relationships/slideLayout" Target="../slideLayouts/slideLayout7.xml"/><Relationship Id="rId3" Type="http://schemas.openxmlformats.org/officeDocument/2006/relationships/notesSlide" Target="../notesSlides/notesSlide146.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74.xml"/></Relationships>
</file>

<file path=ppt/slides/_rels/slide413.xml.rels><?xml version='1.0' encoding='UTF-8' standalone='yes'?>
<Relationships xmlns="http://schemas.openxmlformats.org/package/2006/relationships"><Relationship Id="rId1" Type="http://schemas.openxmlformats.org/officeDocument/2006/relationships/tags" Target="../tags/tag440.xml"/><Relationship Id="rId2" Type="http://schemas.openxmlformats.org/officeDocument/2006/relationships/slideLayout" Target="../slideLayouts/slideLayout7.xml"/><Relationship Id="rId3" Type="http://schemas.openxmlformats.org/officeDocument/2006/relationships/notesSlide" Target="../notesSlides/notesSlide147.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75.xml"/></Relationships>
</file>

<file path=ppt/slides/_rels/slide414.xml.rels><?xml version='1.0' encoding='UTF-8' standalone='yes'?>
<Relationships xmlns="http://schemas.openxmlformats.org/package/2006/relationships"><Relationship Id="rId1" Type="http://schemas.openxmlformats.org/officeDocument/2006/relationships/tags" Target="../tags/tag441.xml"/><Relationship Id="rId2" Type="http://schemas.openxmlformats.org/officeDocument/2006/relationships/slideLayout" Target="../slideLayouts/slideLayout7.xml"/><Relationship Id="rId3" Type="http://schemas.openxmlformats.org/officeDocument/2006/relationships/notesSlide" Target="../notesSlides/notesSlide148.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76.xml"/></Relationships>
</file>

<file path=ppt/slides/_rels/slide415.xml.rels><?xml version='1.0' encoding='UTF-8' standalone='yes'?>
<Relationships xmlns="http://schemas.openxmlformats.org/package/2006/relationships"><Relationship Id="rId1" Type="http://schemas.openxmlformats.org/officeDocument/2006/relationships/tags" Target="../tags/tag442.xml"/><Relationship Id="rId2" Type="http://schemas.openxmlformats.org/officeDocument/2006/relationships/slideLayout" Target="../slideLayouts/slideLayout7.xml"/><Relationship Id="rId3" Type="http://schemas.openxmlformats.org/officeDocument/2006/relationships/notesSlide" Target="../notesSlides/notesSlide149.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77.xml"/></Relationships>
</file>

<file path=ppt/slides/_rels/slide416.xml.rels><?xml version='1.0' encoding='UTF-8' standalone='yes'?>
<Relationships xmlns="http://schemas.openxmlformats.org/package/2006/relationships"><Relationship Id="rId1" Type="http://schemas.openxmlformats.org/officeDocument/2006/relationships/tags" Target="../tags/tag443.xml"/><Relationship Id="rId2" Type="http://schemas.openxmlformats.org/officeDocument/2006/relationships/slideLayout" Target="../slideLayouts/slideLayout7.xml"/><Relationship Id="rId3" Type="http://schemas.openxmlformats.org/officeDocument/2006/relationships/notesSlide" Target="../notesSlides/notesSlide150.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78.xml"/></Relationships>
</file>

<file path=ppt/slides/_rels/slide417.xml.rels><?xml version='1.0' encoding='UTF-8' standalone='yes'?>
<Relationships xmlns="http://schemas.openxmlformats.org/package/2006/relationships"><Relationship Id="rId1" Type="http://schemas.openxmlformats.org/officeDocument/2006/relationships/tags" Target="../tags/tag444.xml"/><Relationship Id="rId2" Type="http://schemas.openxmlformats.org/officeDocument/2006/relationships/slideLayout" Target="../slideLayouts/slideLayout7.xml"/><Relationship Id="rId3" Type="http://schemas.openxmlformats.org/officeDocument/2006/relationships/notesSlide" Target="../notesSlides/notesSlide151.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79.xml"/></Relationships>
</file>

<file path=ppt/slides/_rels/slide418.xml.rels><?xml version='1.0' encoding='UTF-8' standalone='yes'?>
<Relationships xmlns="http://schemas.openxmlformats.org/package/2006/relationships"><Relationship Id="rId1" Type="http://schemas.openxmlformats.org/officeDocument/2006/relationships/tags" Target="../tags/tag445.xml"/><Relationship Id="rId2" Type="http://schemas.openxmlformats.org/officeDocument/2006/relationships/slideLayout" Target="../slideLayouts/slideLayout7.xml"/><Relationship Id="rId3" Type="http://schemas.openxmlformats.org/officeDocument/2006/relationships/notesSlide" Target="../notesSlides/notesSlide152.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80.xml"/></Relationships>
</file>

<file path=ppt/slides/_rels/slide419.xml.rels><?xml version='1.0' encoding='UTF-8' standalone='yes'?>
<Relationships xmlns="http://schemas.openxmlformats.org/package/2006/relationships"><Relationship Id="rId1" Type="http://schemas.openxmlformats.org/officeDocument/2006/relationships/tags" Target="../tags/tag446.xml"/><Relationship Id="rId2" Type="http://schemas.openxmlformats.org/officeDocument/2006/relationships/slideLayout" Target="../slideLayouts/slideLayout7.xml"/><Relationship Id="rId3" Type="http://schemas.openxmlformats.org/officeDocument/2006/relationships/notesSlide" Target="../notesSlides/notesSlide153.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8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2.xml"/></Relationships>
</file>

<file path=ppt/slides/_rels/slide420.xml.rels><?xml version='1.0' encoding='UTF-8' standalone='yes'?>
<Relationships xmlns="http://schemas.openxmlformats.org/package/2006/relationships"><Relationship Id="rId1" Type="http://schemas.openxmlformats.org/officeDocument/2006/relationships/tags" Target="../tags/tag447.xml"/><Relationship Id="rId2" Type="http://schemas.openxmlformats.org/officeDocument/2006/relationships/slideLayout" Target="../slideLayouts/slideLayout7.xml"/><Relationship Id="rId3" Type="http://schemas.openxmlformats.org/officeDocument/2006/relationships/notesSlide" Target="../notesSlides/notesSlide154.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82.xml"/></Relationships>
</file>

<file path=ppt/slides/_rels/slide421.xml.rels><?xml version='1.0' encoding='UTF-8' standalone='yes'?>
<Relationships xmlns="http://schemas.openxmlformats.org/package/2006/relationships"><Relationship Id="rId1" Type="http://schemas.openxmlformats.org/officeDocument/2006/relationships/tags" Target="../tags/tag448.xml"/><Relationship Id="rId2" Type="http://schemas.openxmlformats.org/officeDocument/2006/relationships/slideLayout" Target="../slideLayouts/slideLayout7.xml"/><Relationship Id="rId3" Type="http://schemas.openxmlformats.org/officeDocument/2006/relationships/notesSlide" Target="../notesSlides/notesSlide155.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83.xml"/></Relationships>
</file>

<file path=ppt/slides/_rels/slide422.xml.rels><?xml version='1.0' encoding='UTF-8' standalone='yes'?>
<Relationships xmlns="http://schemas.openxmlformats.org/package/2006/relationships"><Relationship Id="rId1" Type="http://schemas.openxmlformats.org/officeDocument/2006/relationships/tags" Target="../tags/tag449.xml"/><Relationship Id="rId2" Type="http://schemas.openxmlformats.org/officeDocument/2006/relationships/slideLayout" Target="../slideLayouts/slideLayout7.xml"/><Relationship Id="rId3" Type="http://schemas.openxmlformats.org/officeDocument/2006/relationships/notesSlide" Target="../notesSlides/notesSlide156.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84.xml"/></Relationships>
</file>

<file path=ppt/slides/_rels/slide423.xml.rels><?xml version='1.0' encoding='UTF-8' standalone='yes'?>
<Relationships xmlns="http://schemas.openxmlformats.org/package/2006/relationships"><Relationship Id="rId1" Type="http://schemas.openxmlformats.org/officeDocument/2006/relationships/tags" Target="../tags/tag450.xml"/><Relationship Id="rId2" Type="http://schemas.openxmlformats.org/officeDocument/2006/relationships/slideLayout" Target="../slideLayouts/slideLayout7.xml"/><Relationship Id="rId3" Type="http://schemas.openxmlformats.org/officeDocument/2006/relationships/notesSlide" Target="../notesSlides/notesSlide157.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85.xml"/></Relationships>
</file>

<file path=ppt/slides/_rels/slide424.xml.rels><?xml version='1.0' encoding='UTF-8' standalone='yes'?>
<Relationships xmlns="http://schemas.openxmlformats.org/package/2006/relationships"><Relationship Id="rId1" Type="http://schemas.openxmlformats.org/officeDocument/2006/relationships/tags" Target="../tags/tag451.xml"/><Relationship Id="rId2" Type="http://schemas.openxmlformats.org/officeDocument/2006/relationships/slideLayout" Target="../slideLayouts/slideLayout7.xml"/><Relationship Id="rId3" Type="http://schemas.openxmlformats.org/officeDocument/2006/relationships/notesSlide" Target="../notesSlides/notesSlide158.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86.xml"/></Relationships>
</file>

<file path=ppt/slides/_rels/slide425.xml.rels><?xml version='1.0' encoding='UTF-8' standalone='yes'?>
<Relationships xmlns="http://schemas.openxmlformats.org/package/2006/relationships"><Relationship Id="rId1" Type="http://schemas.openxmlformats.org/officeDocument/2006/relationships/tags" Target="../tags/tag452.xml"/><Relationship Id="rId2" Type="http://schemas.openxmlformats.org/officeDocument/2006/relationships/slideLayout" Target="../slideLayouts/slideLayout7.xml"/><Relationship Id="rId3" Type="http://schemas.openxmlformats.org/officeDocument/2006/relationships/notesSlide" Target="../notesSlides/notesSlide159.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87.xml"/></Relationships>
</file>

<file path=ppt/slides/_rels/slide426.xml.rels><?xml version='1.0' encoding='UTF-8' standalone='yes'?>
<Relationships xmlns="http://schemas.openxmlformats.org/package/2006/relationships"><Relationship Id="rId1" Type="http://schemas.openxmlformats.org/officeDocument/2006/relationships/tags" Target="../tags/tag453.xml"/><Relationship Id="rId2" Type="http://schemas.openxmlformats.org/officeDocument/2006/relationships/slideLayout" Target="../slideLayouts/slideLayout7.xml"/><Relationship Id="rId3" Type="http://schemas.openxmlformats.org/officeDocument/2006/relationships/notesSlide" Target="../notesSlides/notesSlide160.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88.xml"/></Relationships>
</file>

<file path=ppt/slides/_rels/slide427.xml.rels><?xml version='1.0' encoding='UTF-8' standalone='yes'?>
<Relationships xmlns="http://schemas.openxmlformats.org/package/2006/relationships"><Relationship Id="rId1" Type="http://schemas.openxmlformats.org/officeDocument/2006/relationships/tags" Target="../tags/tag454.xml"/><Relationship Id="rId2" Type="http://schemas.openxmlformats.org/officeDocument/2006/relationships/slideLayout" Target="../slideLayouts/slideLayout7.xml"/><Relationship Id="rId3" Type="http://schemas.openxmlformats.org/officeDocument/2006/relationships/notesSlide" Target="../notesSlides/notesSlide161.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89.xml"/></Relationships>
</file>

<file path=ppt/slides/_rels/slide428.xml.rels><?xml version='1.0' encoding='UTF-8' standalone='yes'?>
<Relationships xmlns="http://schemas.openxmlformats.org/package/2006/relationships"><Relationship Id="rId1" Type="http://schemas.openxmlformats.org/officeDocument/2006/relationships/tags" Target="../tags/tag455.xml"/><Relationship Id="rId2" Type="http://schemas.openxmlformats.org/officeDocument/2006/relationships/slideLayout" Target="../slideLayouts/slideLayout7.xml"/><Relationship Id="rId3" Type="http://schemas.openxmlformats.org/officeDocument/2006/relationships/notesSlide" Target="../notesSlides/notesSlide162.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90.xml"/></Relationships>
</file>

<file path=ppt/slides/_rels/slide429.xml.rels><?xml version='1.0' encoding='UTF-8' standalone='yes'?>
<Relationships xmlns="http://schemas.openxmlformats.org/package/2006/relationships"><Relationship Id="rId1" Type="http://schemas.openxmlformats.org/officeDocument/2006/relationships/tags" Target="../tags/tag456.xml"/><Relationship Id="rId2" Type="http://schemas.openxmlformats.org/officeDocument/2006/relationships/slideLayout" Target="../slideLayouts/slideLayout7.xml"/><Relationship Id="rId3" Type="http://schemas.openxmlformats.org/officeDocument/2006/relationships/notesSlide" Target="../notesSlides/notesSlide163.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91.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3.xml"/></Relationships>
</file>

<file path=ppt/slides/_rels/slide430.xml.rels><?xml version='1.0' encoding='UTF-8' standalone='yes'?>
<Relationships xmlns="http://schemas.openxmlformats.org/package/2006/relationships"><Relationship Id="rId1" Type="http://schemas.openxmlformats.org/officeDocument/2006/relationships/tags" Target="../tags/tag457.xml"/><Relationship Id="rId2" Type="http://schemas.openxmlformats.org/officeDocument/2006/relationships/slideLayout" Target="../slideLayouts/slideLayout7.xml"/><Relationship Id="rId3" Type="http://schemas.openxmlformats.org/officeDocument/2006/relationships/notesSlide" Target="../notesSlides/notesSlide164.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92.xml"/></Relationships>
</file>

<file path=ppt/slides/_rels/slide431.xml.rels><?xml version='1.0' encoding='UTF-8' standalone='yes'?>
<Relationships xmlns="http://schemas.openxmlformats.org/package/2006/relationships"><Relationship Id="rId1" Type="http://schemas.openxmlformats.org/officeDocument/2006/relationships/tags" Target="../tags/tag458.xml"/><Relationship Id="rId2" Type="http://schemas.openxmlformats.org/officeDocument/2006/relationships/slideLayout" Target="../slideLayouts/slideLayout7.xml"/><Relationship Id="rId3" Type="http://schemas.openxmlformats.org/officeDocument/2006/relationships/notesSlide" Target="../notesSlides/notesSlide165.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93.xml"/></Relationships>
</file>

<file path=ppt/slides/_rels/slide432.xml.rels><?xml version='1.0' encoding='UTF-8' standalone='yes'?>
<Relationships xmlns="http://schemas.openxmlformats.org/package/2006/relationships"><Relationship Id="rId1" Type="http://schemas.openxmlformats.org/officeDocument/2006/relationships/tags" Target="../tags/tag459.xml"/><Relationship Id="rId2" Type="http://schemas.openxmlformats.org/officeDocument/2006/relationships/slideLayout" Target="../slideLayouts/slideLayout7.xml"/><Relationship Id="rId3" Type="http://schemas.openxmlformats.org/officeDocument/2006/relationships/notesSlide" Target="../notesSlides/notesSlide166.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94.xml"/></Relationships>
</file>

<file path=ppt/slides/_rels/slide433.xml.rels><?xml version='1.0' encoding='UTF-8' standalone='yes'?>
<Relationships xmlns="http://schemas.openxmlformats.org/package/2006/relationships"><Relationship Id="rId1" Type="http://schemas.openxmlformats.org/officeDocument/2006/relationships/tags" Target="../tags/tag460.xml"/><Relationship Id="rId2" Type="http://schemas.openxmlformats.org/officeDocument/2006/relationships/slideLayout" Target="../slideLayouts/slideLayout7.xml"/><Relationship Id="rId3" Type="http://schemas.openxmlformats.org/officeDocument/2006/relationships/notesSlide" Target="../notesSlides/notesSlide167.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95.xml"/></Relationships>
</file>

<file path=ppt/slides/_rels/slide434.xml.rels><?xml version='1.0' encoding='UTF-8' standalone='yes'?>
<Relationships xmlns="http://schemas.openxmlformats.org/package/2006/relationships"><Relationship Id="rId1" Type="http://schemas.openxmlformats.org/officeDocument/2006/relationships/tags" Target="../tags/tag461.xml"/><Relationship Id="rId2" Type="http://schemas.openxmlformats.org/officeDocument/2006/relationships/slideLayout" Target="../slideLayouts/slideLayout7.xml"/><Relationship Id="rId3" Type="http://schemas.openxmlformats.org/officeDocument/2006/relationships/notesSlide" Target="../notesSlides/notesSlide168.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96.xml"/></Relationships>
</file>

<file path=ppt/slides/_rels/slide435.xml.rels><?xml version='1.0' encoding='UTF-8' standalone='yes'?>
<Relationships xmlns="http://schemas.openxmlformats.org/package/2006/relationships"><Relationship Id="rId1" Type="http://schemas.openxmlformats.org/officeDocument/2006/relationships/tags" Target="../tags/tag462.xml"/><Relationship Id="rId2" Type="http://schemas.openxmlformats.org/officeDocument/2006/relationships/slideLayout" Target="../slideLayouts/slideLayout7.xml"/><Relationship Id="rId3" Type="http://schemas.openxmlformats.org/officeDocument/2006/relationships/notesSlide" Target="../notesSlides/notesSlide169.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97.xml"/></Relationships>
</file>

<file path=ppt/slides/_rels/slide436.xml.rels><?xml version='1.0' encoding='UTF-8' standalone='yes'?>
<Relationships xmlns="http://schemas.openxmlformats.org/package/2006/relationships"><Relationship Id="rId1" Type="http://schemas.openxmlformats.org/officeDocument/2006/relationships/tags" Target="../tags/tag463.xml"/><Relationship Id="rId2" Type="http://schemas.openxmlformats.org/officeDocument/2006/relationships/slideLayout" Target="../slideLayouts/slideLayout7.xml"/><Relationship Id="rId3" Type="http://schemas.openxmlformats.org/officeDocument/2006/relationships/notesSlide" Target="../notesSlides/notesSlide170.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98.xml"/></Relationships>
</file>

<file path=ppt/slides/_rels/slide437.xml.rels><?xml version='1.0' encoding='UTF-8' standalone='yes'?>
<Relationships xmlns="http://schemas.openxmlformats.org/package/2006/relationships"><Relationship Id="rId1" Type="http://schemas.openxmlformats.org/officeDocument/2006/relationships/tags" Target="../tags/tag464.xml"/><Relationship Id="rId2" Type="http://schemas.openxmlformats.org/officeDocument/2006/relationships/slideLayout" Target="../slideLayouts/slideLayout7.xml"/><Relationship Id="rId3" Type="http://schemas.openxmlformats.org/officeDocument/2006/relationships/notesSlide" Target="../notesSlides/notesSlide171.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499.xml"/></Relationships>
</file>

<file path=ppt/slides/_rels/slide438.xml.rels><?xml version='1.0' encoding='UTF-8' standalone='yes'?>
<Relationships xmlns="http://schemas.openxmlformats.org/package/2006/relationships"><Relationship Id="rId1" Type="http://schemas.openxmlformats.org/officeDocument/2006/relationships/tags" Target="../tags/tag465.xml"/><Relationship Id="rId2" Type="http://schemas.openxmlformats.org/officeDocument/2006/relationships/slideLayout" Target="../slideLayouts/slideLayout7.xml"/><Relationship Id="rId3" Type="http://schemas.openxmlformats.org/officeDocument/2006/relationships/notesSlide" Target="../notesSlides/notesSlide172.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500.xml"/></Relationships>
</file>

<file path=ppt/slides/_rels/slide439.xml.rels><?xml version='1.0' encoding='UTF-8' standalone='yes'?>
<Relationships xmlns="http://schemas.openxmlformats.org/package/2006/relationships"><Relationship Id="rId1" Type="http://schemas.openxmlformats.org/officeDocument/2006/relationships/tags" Target="../tags/tag466.xml"/><Relationship Id="rId2" Type="http://schemas.openxmlformats.org/officeDocument/2006/relationships/slideLayout" Target="../slideLayouts/slideLayout7.xml"/><Relationship Id="rId3" Type="http://schemas.openxmlformats.org/officeDocument/2006/relationships/notesSlide" Target="../notesSlides/notesSlide173.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501.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4.xml"/></Relationships>
</file>

<file path=ppt/slides/_rels/slide440.xml.rels><?xml version='1.0' encoding='UTF-8' standalone='yes'?>
<Relationships xmlns="http://schemas.openxmlformats.org/package/2006/relationships"><Relationship Id="rId1" Type="http://schemas.openxmlformats.org/officeDocument/2006/relationships/tags" Target="../tags/tag467.xml"/><Relationship Id="rId2" Type="http://schemas.openxmlformats.org/officeDocument/2006/relationships/slideLayout" Target="../slideLayouts/slideLayout7.xml"/><Relationship Id="rId3" Type="http://schemas.openxmlformats.org/officeDocument/2006/relationships/notesSlide" Target="../notesSlides/notesSlide174.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502.xml"/></Relationships>
</file>

<file path=ppt/slides/_rels/slide441.xml.rels><?xml version='1.0' encoding='UTF-8' standalone='yes'?>
<Relationships xmlns="http://schemas.openxmlformats.org/package/2006/relationships"><Relationship Id="rId1" Type="http://schemas.openxmlformats.org/officeDocument/2006/relationships/tags" Target="../tags/tag468.xml"/><Relationship Id="rId2" Type="http://schemas.openxmlformats.org/officeDocument/2006/relationships/slideLayout" Target="../slideLayouts/slideLayout7.xml"/><Relationship Id="rId3" Type="http://schemas.openxmlformats.org/officeDocument/2006/relationships/notesSlide" Target="../notesSlides/notesSlide175.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503.xml"/></Relationships>
</file>

<file path=ppt/slides/_rels/slide442.xml.rels><?xml version='1.0' encoding='UTF-8' standalone='yes'?>
<Relationships xmlns="http://schemas.openxmlformats.org/package/2006/relationships"><Relationship Id="rId1" Type="http://schemas.openxmlformats.org/officeDocument/2006/relationships/tags" Target="../tags/tag469.xml"/><Relationship Id="rId2" Type="http://schemas.openxmlformats.org/officeDocument/2006/relationships/slideLayout" Target="../slideLayouts/slideLayout7.xml"/><Relationship Id="rId3" Type="http://schemas.openxmlformats.org/officeDocument/2006/relationships/notesSlide" Target="../notesSlides/notesSlide176.xml"/><Relationship Id="rId4" Type="http://schemas.openxmlformats.org/officeDocument/2006/relationships/oleObject" Target="../embeddings/oleObject29.bin"/><Relationship Id="rId5" Type="http://schemas.openxmlformats.org/officeDocument/2006/relationships/image" Target="../media/image29.emf"/><Relationship Id="rId6" Type="http://schemas.openxmlformats.org/officeDocument/2006/relationships/chart" Target="../charts/chart50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 Id="rId6" Type="http://schemas.openxmlformats.org/officeDocument/2006/relationships/chart" Target="../charts/chart9.xml"/><Relationship Id="rId7" Type="http://schemas.openxmlformats.org/officeDocument/2006/relationships/chart" Target="../charts/chart10.xml"/><Relationship Id="rId8" Type="http://schemas.openxmlformats.org/officeDocument/2006/relationships/chart" Target="../charts/chart11.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xml"/><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1.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4.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5.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8.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Autos Scanning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 Car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8443890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Autos Scanning North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a:t>
                      </a:r>
                    </a:p>
                  </a:txBody>
                  <a:tcPr anchor="ctr">
                    <a:solidFill>
                      <a:schemeClr val="bg2"/>
                    </a:solidFill>
                  </a:tcPr>
                </a:tc>
                <a:tc>
                  <a:txBody>
                    <a:bodyPr/>
                    <a:lstStyle/>
                    <a:p>
                      <a:pPr algn="ctr">
                        <a:defRPr sz="1100">
                          <a:latin typeface="Nexa Book"/>
                        </a:defRPr>
                      </a:pPr>
                      <a:r>
                        <a:rPr b="1">
                          <a:solidFill>
                            <a:srgbClr val="575555"/>
                          </a:solidFill>
                        </a:rPr>
                        <a:t>Banded Pack</a:t>
                      </a:r>
                    </a:p>
                  </a:txBody>
                  <a:tcPr anchor="ctr">
                    <a:solidFill>
                      <a:schemeClr val="bg2"/>
                    </a:solidFill>
                  </a:tcPr>
                </a:tc>
                <a:tc>
                  <a:txBody>
                    <a:bodyPr/>
                    <a:lstStyle/>
                    <a:p>
                      <a:pPr algn="ctr">
                        <a:defRPr sz="1100">
                          <a:latin typeface="Nexa Book"/>
                        </a:defRPr>
                      </a:pPr>
                      <a:r>
                        <a:rPr b="1">
                          <a:solidFill>
                            <a:srgbClr val="575555"/>
                          </a:solidFill>
                        </a:rPr>
                        <a:t>Tanning</a:t>
                      </a:r>
                    </a:p>
                  </a:txBody>
                  <a:tcPr anchor="ctr">
                    <a:solidFill>
                      <a:schemeClr val="bg2"/>
                    </a:solidFill>
                  </a:tcPr>
                </a:tc>
                <a:tc>
                  <a:txBody>
                    <a:bodyPr/>
                    <a:lstStyle/>
                    <a:p>
                      <a:pPr algn="ctr">
                        <a:defRPr sz="1100">
                          <a:latin typeface="Nexa Book"/>
                        </a:defRPr>
                      </a:pPr>
                      <a:r>
                        <a:rPr b="1">
                          <a:solidFill>
                            <a:srgbClr val="575555"/>
                          </a:solidFill>
                        </a:rPr>
                        <a:t>After Su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76997166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2750483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8143725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9660655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0828722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373260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3259862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6756825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9536585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2136247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503835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Autos Scanning Southeast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a:t>
                      </a:r>
                    </a:p>
                  </a:txBody>
                  <a:tcPr anchor="ctr">
                    <a:solidFill>
                      <a:schemeClr val="bg2"/>
                    </a:solidFill>
                  </a:tcPr>
                </a:tc>
                <a:tc>
                  <a:txBody>
                    <a:bodyPr/>
                    <a:lstStyle/>
                    <a:p>
                      <a:pPr algn="ctr">
                        <a:defRPr sz="1100">
                          <a:latin typeface="Nexa Book"/>
                        </a:defRPr>
                      </a:pPr>
                      <a:r>
                        <a:rPr b="1">
                          <a:solidFill>
                            <a:srgbClr val="575555"/>
                          </a:solidFill>
                        </a:rPr>
                        <a:t>Banded Pack</a:t>
                      </a:r>
                    </a:p>
                  </a:txBody>
                  <a:tcPr anchor="ctr">
                    <a:solidFill>
                      <a:schemeClr val="bg2"/>
                    </a:solidFill>
                  </a:tcPr>
                </a:tc>
                <a:tc>
                  <a:txBody>
                    <a:bodyPr/>
                    <a:lstStyle/>
                    <a:p>
                      <a:pPr algn="ctr">
                        <a:defRPr sz="1100">
                          <a:latin typeface="Nexa Book"/>
                        </a:defRPr>
                      </a:pPr>
                      <a:r>
                        <a:rPr b="1">
                          <a:solidFill>
                            <a:srgbClr val="575555"/>
                          </a:solidFill>
                        </a:rPr>
                        <a:t>Tanning</a:t>
                      </a:r>
                    </a:p>
                  </a:txBody>
                  <a:tcPr anchor="ctr">
                    <a:solidFill>
                      <a:schemeClr val="bg2"/>
                    </a:solidFill>
                  </a:tcPr>
                </a:tc>
                <a:tc>
                  <a:txBody>
                    <a:bodyPr/>
                    <a:lstStyle/>
                    <a:p>
                      <a:pPr algn="ctr">
                        <a:defRPr sz="1100">
                          <a:latin typeface="Nexa Book"/>
                        </a:defRPr>
                      </a:pPr>
                      <a:r>
                        <a:rPr b="1">
                          <a:solidFill>
                            <a:srgbClr val="575555"/>
                          </a:solidFill>
                        </a:rPr>
                        <a:t>After Su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09144296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3820099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51951977"/>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8891518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6291462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9481026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9633645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96231069"/>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5395572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30490629"/>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521886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Autos Scanning Bajío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a:t>
                      </a:r>
                    </a:p>
                  </a:txBody>
                  <a:tcPr anchor="ctr">
                    <a:solidFill>
                      <a:schemeClr val="bg2"/>
                    </a:solidFill>
                  </a:tcPr>
                </a:tc>
                <a:tc>
                  <a:txBody>
                    <a:bodyPr/>
                    <a:lstStyle/>
                    <a:p>
                      <a:pPr algn="ctr">
                        <a:defRPr sz="1100">
                          <a:latin typeface="Nexa Book"/>
                        </a:defRPr>
                      </a:pPr>
                      <a:r>
                        <a:rPr b="1">
                          <a:solidFill>
                            <a:srgbClr val="575555"/>
                          </a:solidFill>
                        </a:rPr>
                        <a:t>Banded Pack</a:t>
                      </a:r>
                    </a:p>
                  </a:txBody>
                  <a:tcPr anchor="ctr">
                    <a:solidFill>
                      <a:schemeClr val="bg2"/>
                    </a:solidFill>
                  </a:tcPr>
                </a:tc>
                <a:tc>
                  <a:txBody>
                    <a:bodyPr/>
                    <a:lstStyle/>
                    <a:p>
                      <a:pPr algn="ctr">
                        <a:defRPr sz="1100">
                          <a:latin typeface="Nexa Book"/>
                        </a:defRPr>
                      </a:pPr>
                      <a:r>
                        <a:rPr b="1">
                          <a:solidFill>
                            <a:srgbClr val="575555"/>
                          </a:solidFill>
                        </a:rPr>
                        <a:t>Tanning</a:t>
                      </a:r>
                    </a:p>
                  </a:txBody>
                  <a:tcPr anchor="ctr">
                    <a:solidFill>
                      <a:schemeClr val="bg2"/>
                    </a:solidFill>
                  </a:tcPr>
                </a:tc>
                <a:tc>
                  <a:txBody>
                    <a:bodyPr/>
                    <a:lstStyle/>
                    <a:p>
                      <a:pPr algn="ctr">
                        <a:defRPr sz="1100">
                          <a:latin typeface="Nexa Book"/>
                        </a:defRPr>
                      </a:pPr>
                      <a:r>
                        <a:rPr b="1">
                          <a:solidFill>
                            <a:srgbClr val="575555"/>
                          </a:solidFill>
                        </a:rPr>
                        <a:t>After Su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56872851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4527773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2205816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09257086"/>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9544060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2925112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3554293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3822522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4223974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0849480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763943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Autos Scanning West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a:t>
                      </a:r>
                    </a:p>
                  </a:txBody>
                  <a:tcPr anchor="ctr">
                    <a:solidFill>
                      <a:schemeClr val="bg2"/>
                    </a:solidFill>
                  </a:tcPr>
                </a:tc>
                <a:tc>
                  <a:txBody>
                    <a:bodyPr/>
                    <a:lstStyle/>
                    <a:p>
                      <a:pPr algn="ctr">
                        <a:defRPr sz="1100">
                          <a:latin typeface="Nexa Book"/>
                        </a:defRPr>
                      </a:pPr>
                      <a:r>
                        <a:rPr b="1">
                          <a:solidFill>
                            <a:srgbClr val="575555"/>
                          </a:solidFill>
                        </a:rPr>
                        <a:t>Banded Pack</a:t>
                      </a:r>
                    </a:p>
                  </a:txBody>
                  <a:tcPr anchor="ctr">
                    <a:solidFill>
                      <a:schemeClr val="bg2"/>
                    </a:solidFill>
                  </a:tcPr>
                </a:tc>
                <a:tc>
                  <a:txBody>
                    <a:bodyPr/>
                    <a:lstStyle/>
                    <a:p>
                      <a:pPr algn="ctr">
                        <a:defRPr sz="1100">
                          <a:latin typeface="Nexa Book"/>
                        </a:defRPr>
                      </a:pPr>
                      <a:r>
                        <a:rPr b="1">
                          <a:solidFill>
                            <a:srgbClr val="575555"/>
                          </a:solidFill>
                        </a:rPr>
                        <a:t>Tanning</a:t>
                      </a:r>
                    </a:p>
                  </a:txBody>
                  <a:tcPr anchor="ctr">
                    <a:solidFill>
                      <a:schemeClr val="bg2"/>
                    </a:solidFill>
                  </a:tcPr>
                </a:tc>
                <a:tc>
                  <a:txBody>
                    <a:bodyPr/>
                    <a:lstStyle/>
                    <a:p>
                      <a:pPr algn="ctr">
                        <a:defRPr sz="1100">
                          <a:latin typeface="Nexa Book"/>
                        </a:defRPr>
                      </a:pPr>
                      <a:r>
                        <a:rPr b="1">
                          <a:solidFill>
                            <a:srgbClr val="575555"/>
                          </a:solidFill>
                        </a:rPr>
                        <a:t>After Su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32319050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5956671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9651497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9701896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3199030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7773218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52136209"/>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25748969"/>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0569604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23277478"/>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550525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Autos Scanning Center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a:t>
                      </a:r>
                    </a:p>
                  </a:txBody>
                  <a:tcPr anchor="ctr">
                    <a:solidFill>
                      <a:schemeClr val="bg2"/>
                    </a:solidFill>
                  </a:tcPr>
                </a:tc>
                <a:tc>
                  <a:txBody>
                    <a:bodyPr/>
                    <a:lstStyle/>
                    <a:p>
                      <a:pPr algn="ctr">
                        <a:defRPr sz="1100">
                          <a:latin typeface="Nexa Book"/>
                        </a:defRPr>
                      </a:pPr>
                      <a:r>
                        <a:rPr b="1">
                          <a:solidFill>
                            <a:srgbClr val="575555"/>
                          </a:solidFill>
                        </a:rPr>
                        <a:t>Banded Pack</a:t>
                      </a:r>
                    </a:p>
                  </a:txBody>
                  <a:tcPr anchor="ctr">
                    <a:solidFill>
                      <a:schemeClr val="bg2"/>
                    </a:solidFill>
                  </a:tcPr>
                </a:tc>
                <a:tc>
                  <a:txBody>
                    <a:bodyPr/>
                    <a:lstStyle/>
                    <a:p>
                      <a:pPr algn="ctr">
                        <a:defRPr sz="1100">
                          <a:latin typeface="Nexa Book"/>
                        </a:defRPr>
                      </a:pPr>
                      <a:r>
                        <a:rPr b="1">
                          <a:solidFill>
                            <a:srgbClr val="575555"/>
                          </a:solidFill>
                        </a:rPr>
                        <a:t>Tanning</a:t>
                      </a:r>
                    </a:p>
                  </a:txBody>
                  <a:tcPr anchor="ctr">
                    <a:solidFill>
                      <a:schemeClr val="bg2"/>
                    </a:solidFill>
                  </a:tcPr>
                </a:tc>
                <a:tc>
                  <a:txBody>
                    <a:bodyPr/>
                    <a:lstStyle/>
                    <a:p>
                      <a:pPr algn="ctr">
                        <a:defRPr sz="1100">
                          <a:latin typeface="Nexa Book"/>
                        </a:defRPr>
                      </a:pPr>
                      <a:r>
                        <a:rPr b="1">
                          <a:solidFill>
                            <a:srgbClr val="575555"/>
                          </a:solidFill>
                        </a:rPr>
                        <a:t>After Su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82743541"/>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3071701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18225103"/>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2047202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1320193"/>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06393799"/>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01843725"/>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96415724"/>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67489589"/>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7959534"/>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463418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Autos Scanning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unscreen Adults</a:t>
                      </a:r>
                    </a:p>
                  </a:txBody>
                  <a:tcPr anchor="ctr">
                    <a:solidFill>
                      <a:schemeClr val="bg2"/>
                    </a:solidFill>
                  </a:tcPr>
                </a:tc>
                <a:tc>
                  <a:txBody>
                    <a:bodyPr/>
                    <a:lstStyle/>
                    <a:p>
                      <a:pPr algn="ctr">
                        <a:defRPr sz="1100">
                          <a:latin typeface="Nexa Book"/>
                        </a:defRPr>
                      </a:pPr>
                      <a:r>
                        <a:rPr b="1">
                          <a:solidFill>
                            <a:srgbClr val="575555"/>
                          </a:solidFill>
                        </a:rPr>
                        <a:t>Sunscreen Baby</a:t>
                      </a:r>
                    </a:p>
                  </a:txBody>
                  <a:tcPr anchor="ctr">
                    <a:solidFill>
                      <a:schemeClr val="bg2"/>
                    </a:solidFill>
                  </a:tcPr>
                </a:tc>
                <a:tc>
                  <a:txBody>
                    <a:bodyPr/>
                    <a:lstStyle/>
                    <a:p>
                      <a:pPr algn="ctr">
                        <a:defRPr sz="1100">
                          <a:latin typeface="Nexa Book"/>
                        </a:defRPr>
                      </a:pPr>
                      <a:r>
                        <a:rPr b="1">
                          <a:solidFill>
                            <a:srgbClr val="575555"/>
                          </a:solidFill>
                        </a:rPr>
                        <a:t>Sunscreen Kid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695631478"/>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1560394"/>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73861823"/>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60470742"/>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07149970"/>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23447463"/>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un Care | Autos Sc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10485413"/>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un Care | Autos Scanning South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45069092"/>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un Care | Autos Scanning North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92319830"/>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un Care | Autos Scanning Southea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49741943"/>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un Care | Autos Scanning Bají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782784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Autos Scanning South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unscreen Adults</a:t>
                      </a:r>
                    </a:p>
                  </a:txBody>
                  <a:tcPr anchor="ctr">
                    <a:solidFill>
                      <a:schemeClr val="bg2"/>
                    </a:solidFill>
                  </a:tcPr>
                </a:tc>
                <a:tc>
                  <a:txBody>
                    <a:bodyPr/>
                    <a:lstStyle/>
                    <a:p>
                      <a:pPr algn="ctr">
                        <a:defRPr sz="1100">
                          <a:latin typeface="Nexa Book"/>
                        </a:defRPr>
                      </a:pPr>
                      <a:r>
                        <a:rPr b="1">
                          <a:solidFill>
                            <a:srgbClr val="575555"/>
                          </a:solidFill>
                        </a:rPr>
                        <a:t>Sunscreen Baby</a:t>
                      </a:r>
                    </a:p>
                  </a:txBody>
                  <a:tcPr anchor="ctr">
                    <a:solidFill>
                      <a:schemeClr val="bg2"/>
                    </a:solidFill>
                  </a:tcPr>
                </a:tc>
                <a:tc>
                  <a:txBody>
                    <a:bodyPr/>
                    <a:lstStyle/>
                    <a:p>
                      <a:pPr algn="ctr">
                        <a:defRPr sz="1100">
                          <a:latin typeface="Nexa Book"/>
                        </a:defRPr>
                      </a:pPr>
                      <a:r>
                        <a:rPr b="1">
                          <a:solidFill>
                            <a:srgbClr val="575555"/>
                          </a:solidFill>
                        </a:rPr>
                        <a:t>Sunscreen Kid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615498464"/>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un Care | Autos Scanning 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0054954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un Care | Autos Scanning Cente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82727570"/>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82614396"/>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3777030"/>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13375684"/>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15383372"/>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14198341"/>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79960828"/>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17954845"/>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015843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Autos Scanning North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unscreen Adults</a:t>
                      </a:r>
                    </a:p>
                  </a:txBody>
                  <a:tcPr anchor="ctr">
                    <a:solidFill>
                      <a:schemeClr val="bg2"/>
                    </a:solidFill>
                  </a:tcPr>
                </a:tc>
                <a:tc>
                  <a:txBody>
                    <a:bodyPr/>
                    <a:lstStyle/>
                    <a:p>
                      <a:pPr algn="ctr">
                        <a:defRPr sz="1100">
                          <a:latin typeface="Nexa Book"/>
                        </a:defRPr>
                      </a:pPr>
                      <a:r>
                        <a:rPr b="1">
                          <a:solidFill>
                            <a:srgbClr val="575555"/>
                          </a:solidFill>
                        </a:rPr>
                        <a:t>Sunscreen Baby</a:t>
                      </a:r>
                    </a:p>
                  </a:txBody>
                  <a:tcPr anchor="ctr">
                    <a:solidFill>
                      <a:schemeClr val="bg2"/>
                    </a:solidFill>
                  </a:tcPr>
                </a:tc>
                <a:tc>
                  <a:txBody>
                    <a:bodyPr/>
                    <a:lstStyle/>
                    <a:p>
                      <a:pPr algn="ctr">
                        <a:defRPr sz="1100">
                          <a:latin typeface="Nexa Book"/>
                        </a:defRPr>
                      </a:pPr>
                      <a:r>
                        <a:rPr b="1">
                          <a:solidFill>
                            <a:srgbClr val="575555"/>
                          </a:solidFill>
                        </a:rPr>
                        <a:t>Sunscreen Kid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91267012"/>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North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25954571"/>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North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87156370"/>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North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99565356"/>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North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44030360"/>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east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54990176"/>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east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35704614"/>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east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76311062"/>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east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97850719"/>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Bajío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42257268"/>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Bajío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373738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Autos Scanning Southeast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unscreen Adults</a:t>
                      </a:r>
                    </a:p>
                  </a:txBody>
                  <a:tcPr anchor="ctr">
                    <a:solidFill>
                      <a:schemeClr val="bg2"/>
                    </a:solidFill>
                  </a:tcPr>
                </a:tc>
                <a:tc>
                  <a:txBody>
                    <a:bodyPr/>
                    <a:lstStyle/>
                    <a:p>
                      <a:pPr algn="ctr">
                        <a:defRPr sz="1100">
                          <a:latin typeface="Nexa Book"/>
                        </a:defRPr>
                      </a:pPr>
                      <a:r>
                        <a:rPr b="1">
                          <a:solidFill>
                            <a:srgbClr val="575555"/>
                          </a:solidFill>
                        </a:rPr>
                        <a:t>Sunscreen Baby</a:t>
                      </a:r>
                    </a:p>
                  </a:txBody>
                  <a:tcPr anchor="ctr">
                    <a:solidFill>
                      <a:schemeClr val="bg2"/>
                    </a:solidFill>
                  </a:tcPr>
                </a:tc>
                <a:tc>
                  <a:txBody>
                    <a:bodyPr/>
                    <a:lstStyle/>
                    <a:p>
                      <a:pPr algn="ctr">
                        <a:defRPr sz="1100">
                          <a:latin typeface="Nexa Book"/>
                        </a:defRPr>
                      </a:pPr>
                      <a:r>
                        <a:rPr b="1">
                          <a:solidFill>
                            <a:srgbClr val="575555"/>
                          </a:solidFill>
                        </a:rPr>
                        <a:t>Sunscreen Kid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33287985"/>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Bajío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56309224"/>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Bajío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79181262"/>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West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0475000"/>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West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10094384"/>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West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19218113"/>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West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11035794"/>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Center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82266273"/>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Center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07245809"/>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Center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7019529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Center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448384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Autos Scanning Bajío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unscreen Adults</a:t>
                      </a:r>
                    </a:p>
                  </a:txBody>
                  <a:tcPr anchor="ctr">
                    <a:solidFill>
                      <a:schemeClr val="bg2"/>
                    </a:solidFill>
                  </a:tcPr>
                </a:tc>
                <a:tc>
                  <a:txBody>
                    <a:bodyPr/>
                    <a:lstStyle/>
                    <a:p>
                      <a:pPr algn="ctr">
                        <a:defRPr sz="1100">
                          <a:latin typeface="Nexa Book"/>
                        </a:defRPr>
                      </a:pPr>
                      <a:r>
                        <a:rPr b="1">
                          <a:solidFill>
                            <a:srgbClr val="575555"/>
                          </a:solidFill>
                        </a:rPr>
                        <a:t>Sunscreen Baby</a:t>
                      </a:r>
                    </a:p>
                  </a:txBody>
                  <a:tcPr anchor="ctr">
                    <a:solidFill>
                      <a:schemeClr val="bg2"/>
                    </a:solidFill>
                  </a:tcPr>
                </a:tc>
                <a:tc>
                  <a:txBody>
                    <a:bodyPr/>
                    <a:lstStyle/>
                    <a:p>
                      <a:pPr algn="ctr">
                        <a:defRPr sz="1100">
                          <a:latin typeface="Nexa Book"/>
                        </a:defRPr>
                      </a:pPr>
                      <a:r>
                        <a:rPr b="1">
                          <a:solidFill>
                            <a:srgbClr val="575555"/>
                          </a:solidFill>
                        </a:rPr>
                        <a:t>Sunscreen Kid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105656918"/>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20232520"/>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49384475"/>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60333704"/>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39791209"/>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92456407"/>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1715421"/>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North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86863444"/>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North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78143979"/>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North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16315261"/>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east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090541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Autos Scanning South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 Car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5196040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Autos Scanning West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unscreen Adults</a:t>
                      </a:r>
                    </a:p>
                  </a:txBody>
                  <a:tcPr anchor="ctr">
                    <a:solidFill>
                      <a:schemeClr val="bg2"/>
                    </a:solidFill>
                  </a:tcPr>
                </a:tc>
                <a:tc>
                  <a:txBody>
                    <a:bodyPr/>
                    <a:lstStyle/>
                    <a:p>
                      <a:pPr algn="ctr">
                        <a:defRPr sz="1100">
                          <a:latin typeface="Nexa Book"/>
                        </a:defRPr>
                      </a:pPr>
                      <a:r>
                        <a:rPr b="1">
                          <a:solidFill>
                            <a:srgbClr val="575555"/>
                          </a:solidFill>
                        </a:rPr>
                        <a:t>Sunscreen Baby</a:t>
                      </a:r>
                    </a:p>
                  </a:txBody>
                  <a:tcPr anchor="ctr">
                    <a:solidFill>
                      <a:schemeClr val="bg2"/>
                    </a:solidFill>
                  </a:tcPr>
                </a:tc>
                <a:tc>
                  <a:txBody>
                    <a:bodyPr/>
                    <a:lstStyle/>
                    <a:p>
                      <a:pPr algn="ctr">
                        <a:defRPr sz="1100">
                          <a:latin typeface="Nexa Book"/>
                        </a:defRPr>
                      </a:pPr>
                      <a:r>
                        <a:rPr b="1">
                          <a:solidFill>
                            <a:srgbClr val="575555"/>
                          </a:solidFill>
                        </a:rPr>
                        <a:t>Sunscreen Kid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852663600"/>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east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95914346"/>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east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00954368"/>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Bajío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66962065"/>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Bajío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56967478"/>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Bajío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25792991"/>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West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4545748"/>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West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27648177"/>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West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88004522"/>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Center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24317952"/>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Center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501554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Autos Scanning Center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unscreen Adults</a:t>
                      </a:r>
                    </a:p>
                  </a:txBody>
                  <a:tcPr anchor="ctr">
                    <a:solidFill>
                      <a:schemeClr val="bg2"/>
                    </a:solidFill>
                  </a:tcPr>
                </a:tc>
                <a:tc>
                  <a:txBody>
                    <a:bodyPr/>
                    <a:lstStyle/>
                    <a:p>
                      <a:pPr algn="ctr">
                        <a:defRPr sz="1100">
                          <a:latin typeface="Nexa Book"/>
                        </a:defRPr>
                      </a:pPr>
                      <a:r>
                        <a:rPr b="1">
                          <a:solidFill>
                            <a:srgbClr val="575555"/>
                          </a:solidFill>
                        </a:rPr>
                        <a:t>Sunscreen Baby</a:t>
                      </a:r>
                    </a:p>
                  </a:txBody>
                  <a:tcPr anchor="ctr">
                    <a:solidFill>
                      <a:schemeClr val="bg2"/>
                    </a:solidFill>
                  </a:tcPr>
                </a:tc>
                <a:tc>
                  <a:txBody>
                    <a:bodyPr/>
                    <a:lstStyle/>
                    <a:p>
                      <a:pPr algn="ctr">
                        <a:defRPr sz="1100">
                          <a:latin typeface="Nexa Book"/>
                        </a:defRPr>
                      </a:pPr>
                      <a:r>
                        <a:rPr b="1">
                          <a:solidFill>
                            <a:srgbClr val="575555"/>
                          </a:solidFill>
                        </a:rPr>
                        <a:t>Sunscreen Kid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806883482"/>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Center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25386506"/>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77591483"/>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70246805"/>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65112560"/>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31367497"/>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35812271"/>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9165912"/>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North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69664961"/>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North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50388932"/>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North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962355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ubSegment | Autos Scanning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unscreen Cosmetics</a:t>
                      </a:r>
                    </a:p>
                  </a:txBody>
                  <a:tcPr anchor="ctr">
                    <a:solidFill>
                      <a:schemeClr val="bg2"/>
                    </a:solidFill>
                  </a:tcPr>
                </a:tc>
                <a:tc>
                  <a:txBody>
                    <a:bodyPr/>
                    <a:lstStyle/>
                    <a:p>
                      <a:pPr algn="ctr">
                        <a:defRPr sz="1100">
                          <a:latin typeface="Nexa Book"/>
                        </a:defRPr>
                      </a:pPr>
                      <a:r>
                        <a:rPr b="1">
                          <a:solidFill>
                            <a:srgbClr val="575555"/>
                          </a:solidFill>
                        </a:rPr>
                        <a:t>Sunscreen Derma</a:t>
                      </a:r>
                    </a:p>
                  </a:txBody>
                  <a:tcPr anchor="ctr">
                    <a:solidFill>
                      <a:schemeClr val="bg2"/>
                    </a:solidFill>
                  </a:tcPr>
                </a:tc>
                <a:tc>
                  <a:txBody>
                    <a:bodyPr/>
                    <a:lstStyle/>
                    <a:p>
                      <a:pPr algn="ctr">
                        <a:defRPr sz="1100">
                          <a:latin typeface="Nexa Book"/>
                        </a:defRPr>
                      </a:pPr>
                      <a:r>
                        <a:rPr b="1">
                          <a:solidFill>
                            <a:srgbClr val="575555"/>
                          </a:solidFill>
                        </a:rPr>
                        <a:t>Sunscreen Spor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588516539"/>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east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49281376"/>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east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25849160"/>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east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20183927"/>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Bajío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16091229"/>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Bajío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0688217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Bajío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84619561"/>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West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78580196"/>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West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73125050"/>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West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41217308"/>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Center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71824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ubSegment | Autos Scanning South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unscreen Cosmetics</a:t>
                      </a:r>
                    </a:p>
                  </a:txBody>
                  <a:tcPr anchor="ctr">
                    <a:solidFill>
                      <a:schemeClr val="bg2"/>
                    </a:solidFill>
                  </a:tcPr>
                </a:tc>
                <a:tc>
                  <a:txBody>
                    <a:bodyPr/>
                    <a:lstStyle/>
                    <a:p>
                      <a:pPr algn="ctr">
                        <a:defRPr sz="1100">
                          <a:latin typeface="Nexa Book"/>
                        </a:defRPr>
                      </a:pPr>
                      <a:r>
                        <a:rPr b="1">
                          <a:solidFill>
                            <a:srgbClr val="575555"/>
                          </a:solidFill>
                        </a:rPr>
                        <a:t>Sunscreen Derma</a:t>
                      </a:r>
                    </a:p>
                  </a:txBody>
                  <a:tcPr anchor="ctr">
                    <a:solidFill>
                      <a:schemeClr val="bg2"/>
                    </a:solidFill>
                  </a:tcPr>
                </a:tc>
                <a:tc>
                  <a:txBody>
                    <a:bodyPr/>
                    <a:lstStyle/>
                    <a:p>
                      <a:pPr algn="ctr">
                        <a:defRPr sz="1100">
                          <a:latin typeface="Nexa Book"/>
                        </a:defRPr>
                      </a:pPr>
                      <a:r>
                        <a:rPr b="1">
                          <a:solidFill>
                            <a:srgbClr val="575555"/>
                          </a:solidFill>
                        </a:rPr>
                        <a:t>Sunscreen Spor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893592459"/>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Center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48735966"/>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Center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2765633"/>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90198773"/>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54148430"/>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98731894"/>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79726643"/>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15684943"/>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57784009"/>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63129464"/>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239406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ubSegment | Autos Scanning North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unscreen Cosmetics</a:t>
                      </a:r>
                    </a:p>
                  </a:txBody>
                  <a:tcPr anchor="ctr">
                    <a:solidFill>
                      <a:schemeClr val="bg2"/>
                    </a:solidFill>
                  </a:tcPr>
                </a:tc>
                <a:tc>
                  <a:txBody>
                    <a:bodyPr/>
                    <a:lstStyle/>
                    <a:p>
                      <a:pPr algn="ctr">
                        <a:defRPr sz="1100">
                          <a:latin typeface="Nexa Book"/>
                        </a:defRPr>
                      </a:pPr>
                      <a:r>
                        <a:rPr b="1">
                          <a:solidFill>
                            <a:srgbClr val="575555"/>
                          </a:solidFill>
                        </a:rPr>
                        <a:t>Sunscreen Derma</a:t>
                      </a:r>
                    </a:p>
                  </a:txBody>
                  <a:tcPr anchor="ctr">
                    <a:solidFill>
                      <a:schemeClr val="bg2"/>
                    </a:solidFill>
                  </a:tcPr>
                </a:tc>
                <a:tc>
                  <a:txBody>
                    <a:bodyPr/>
                    <a:lstStyle/>
                    <a:p>
                      <a:pPr algn="ctr">
                        <a:defRPr sz="1100">
                          <a:latin typeface="Nexa Book"/>
                        </a:defRPr>
                      </a:pPr>
                      <a:r>
                        <a:rPr b="1">
                          <a:solidFill>
                            <a:srgbClr val="575555"/>
                          </a:solidFill>
                        </a:rPr>
                        <a:t>Sunscreen Spor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937362955"/>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46189082"/>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23190726"/>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North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87188900"/>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North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78023910"/>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North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30425945"/>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North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13802053"/>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North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4603927"/>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east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65922903"/>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east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04689003"/>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east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935358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ubSegment | Autos Scanning Southeast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unscreen Cosmetics</a:t>
                      </a:r>
                    </a:p>
                  </a:txBody>
                  <a:tcPr anchor="ctr">
                    <a:solidFill>
                      <a:schemeClr val="bg2"/>
                    </a:solidFill>
                  </a:tcPr>
                </a:tc>
                <a:tc>
                  <a:txBody>
                    <a:bodyPr/>
                    <a:lstStyle/>
                    <a:p>
                      <a:pPr algn="ctr">
                        <a:defRPr sz="1100">
                          <a:latin typeface="Nexa Book"/>
                        </a:defRPr>
                      </a:pPr>
                      <a:r>
                        <a:rPr b="1">
                          <a:solidFill>
                            <a:srgbClr val="575555"/>
                          </a:solidFill>
                        </a:rPr>
                        <a:t>Sunscreen Derma</a:t>
                      </a:r>
                    </a:p>
                  </a:txBody>
                  <a:tcPr anchor="ctr">
                    <a:solidFill>
                      <a:schemeClr val="bg2"/>
                    </a:solidFill>
                  </a:tcPr>
                </a:tc>
                <a:tc>
                  <a:txBody>
                    <a:bodyPr/>
                    <a:lstStyle/>
                    <a:p>
                      <a:pPr algn="ctr">
                        <a:defRPr sz="1100">
                          <a:latin typeface="Nexa Book"/>
                        </a:defRPr>
                      </a:pPr>
                      <a:r>
                        <a:rPr b="1">
                          <a:solidFill>
                            <a:srgbClr val="575555"/>
                          </a:solidFill>
                        </a:rPr>
                        <a:t>Sunscreen Spor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016050035"/>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east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37009916"/>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Southeast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07444201"/>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Bajío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19914551"/>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Bajío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09709641"/>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Bajío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56850934"/>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Bajío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97606547"/>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Bajío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06755728"/>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West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94839601"/>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West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67387532"/>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West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003331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ubSegment | Autos Scanning Bajío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unscreen Cosmetics</a:t>
                      </a:r>
                    </a:p>
                  </a:txBody>
                  <a:tcPr anchor="ctr">
                    <a:solidFill>
                      <a:schemeClr val="bg2"/>
                    </a:solidFill>
                  </a:tcPr>
                </a:tc>
                <a:tc>
                  <a:txBody>
                    <a:bodyPr/>
                    <a:lstStyle/>
                    <a:p>
                      <a:pPr algn="ctr">
                        <a:defRPr sz="1100">
                          <a:latin typeface="Nexa Book"/>
                        </a:defRPr>
                      </a:pPr>
                      <a:r>
                        <a:rPr b="1">
                          <a:solidFill>
                            <a:srgbClr val="575555"/>
                          </a:solidFill>
                        </a:rPr>
                        <a:t>Sunscreen Derma</a:t>
                      </a:r>
                    </a:p>
                  </a:txBody>
                  <a:tcPr anchor="ctr">
                    <a:solidFill>
                      <a:schemeClr val="bg2"/>
                    </a:solidFill>
                  </a:tcPr>
                </a:tc>
                <a:tc>
                  <a:txBody>
                    <a:bodyPr/>
                    <a:lstStyle/>
                    <a:p>
                      <a:pPr algn="ctr">
                        <a:defRPr sz="1100">
                          <a:latin typeface="Nexa Book"/>
                        </a:defRPr>
                      </a:pPr>
                      <a:r>
                        <a:rPr b="1">
                          <a:solidFill>
                            <a:srgbClr val="575555"/>
                          </a:solidFill>
                        </a:rPr>
                        <a:t>Sunscreen Spor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225140529"/>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West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60426595"/>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West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2107200"/>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Center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04979684"/>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Center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52525688"/>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Center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40346737"/>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Center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194611"/>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utos Scanning Center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58132761"/>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6/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8.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6.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80.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Tanning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erap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fter Sun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5.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9.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7.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anded Pack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19.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39.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96.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65.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50024400"/>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6/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Adults (8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66.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Kids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9.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8.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8.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Bab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36.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5.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8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26.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4.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77426616"/>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6/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6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8.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8.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2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80.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9.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99.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2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99.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9.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9.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750323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ubSegment | Autos Scanning West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unscreen Cosmetics</a:t>
                      </a:r>
                    </a:p>
                  </a:txBody>
                  <a:tcPr anchor="ctr">
                    <a:solidFill>
                      <a:schemeClr val="bg2"/>
                    </a:solidFill>
                  </a:tcPr>
                </a:tc>
                <a:tc>
                  <a:txBody>
                    <a:bodyPr/>
                    <a:lstStyle/>
                    <a:p>
                      <a:pPr algn="ctr">
                        <a:defRPr sz="1100">
                          <a:latin typeface="Nexa Book"/>
                        </a:defRPr>
                      </a:pPr>
                      <a:r>
                        <a:rPr b="1">
                          <a:solidFill>
                            <a:srgbClr val="575555"/>
                          </a:solidFill>
                        </a:rPr>
                        <a:t>Sunscreen Derma</a:t>
                      </a:r>
                    </a:p>
                  </a:txBody>
                  <a:tcPr anchor="ctr">
                    <a:solidFill>
                      <a:schemeClr val="bg2"/>
                    </a:solidFill>
                  </a:tcPr>
                </a:tc>
                <a:tc>
                  <a:txBody>
                    <a:bodyPr/>
                    <a:lstStyle/>
                    <a:p>
                      <a:pPr algn="ctr">
                        <a:defRPr sz="1100">
                          <a:latin typeface="Nexa Book"/>
                        </a:defRPr>
                      </a:pPr>
                      <a:r>
                        <a:rPr b="1">
                          <a:solidFill>
                            <a:srgbClr val="575555"/>
                          </a:solidFill>
                        </a:rPr>
                        <a:t>Sunscreen Spor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700658421"/>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6/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Crema (4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3.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9.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8.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8.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Liquido (2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0.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6.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Gel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0.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75.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5.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9.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pray Liquido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8.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0.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6.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54.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Fl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57.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96.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0.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0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85317841"/>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6/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5.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80.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69.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30.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Tanning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4.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Cerapil De San Luis S.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fter Sun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5.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7.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anded Pack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20.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39.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Glaxosmithkli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86.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625961754"/>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6/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Adults (8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9.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66.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95.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30.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Kids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4.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8.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ds.Lavin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3.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Bab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36.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0.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bs. Expanscienc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8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26.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73.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88531955"/>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6/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6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8.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9.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0.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nds.Lavin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90.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2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80.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9.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27.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2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98.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5.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788655738"/>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6/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Category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Crema (4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3.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9.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J&amp;J</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9.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Total Care De Mexic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60.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Liquido (2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6.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0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Gel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8.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0.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67.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519.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pray Liquido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Edgewel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54.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Fl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Ore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57.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eiersdorf</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5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96.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ierre Fab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0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ioderm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58.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14670311"/>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73315434"/>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76315798"/>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21229511"/>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10125557"/>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583246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ubSegment | Autos Scanning Center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unscreen Cosmetics</a:t>
                      </a:r>
                    </a:p>
                  </a:txBody>
                  <a:tcPr anchor="ctr">
                    <a:solidFill>
                      <a:schemeClr val="bg2"/>
                    </a:solidFill>
                  </a:tcPr>
                </a:tc>
                <a:tc>
                  <a:txBody>
                    <a:bodyPr/>
                    <a:lstStyle/>
                    <a:p>
                      <a:pPr algn="ctr">
                        <a:defRPr sz="1100">
                          <a:latin typeface="Nexa Book"/>
                        </a:defRPr>
                      </a:pPr>
                      <a:r>
                        <a:rPr b="1">
                          <a:solidFill>
                            <a:srgbClr val="575555"/>
                          </a:solidFill>
                        </a:rPr>
                        <a:t>Sunscreen Derma</a:t>
                      </a:r>
                    </a:p>
                  </a:txBody>
                  <a:tcPr anchor="ctr">
                    <a:solidFill>
                      <a:schemeClr val="bg2"/>
                    </a:solidFill>
                  </a:tcPr>
                </a:tc>
                <a:tc>
                  <a:txBody>
                    <a:bodyPr/>
                    <a:lstStyle/>
                    <a:p>
                      <a:pPr algn="ctr">
                        <a:defRPr sz="1100">
                          <a:latin typeface="Nexa Book"/>
                        </a:defRPr>
                      </a:pPr>
                      <a:r>
                        <a:rPr b="1">
                          <a:solidFill>
                            <a:srgbClr val="575555"/>
                          </a:solidFill>
                        </a:rPr>
                        <a:t>Sunscreen Spor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852227087"/>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89181269"/>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Edgewell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09398968"/>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awaiian Tropic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42101360"/>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awaiian Tropic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98166841"/>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awaiian Tropic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27984816"/>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awaiian Tropic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7825049"/>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awaiian Tropic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81211390"/>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awaiian Tropic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53521288"/>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Hawaiian Tropic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58981158"/>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anana Boat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157848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ubCategory | Autos Scanning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No Spray Crema</a:t>
                      </a:r>
                    </a:p>
                  </a:txBody>
                  <a:tcPr anchor="ctr">
                    <a:solidFill>
                      <a:schemeClr val="bg2"/>
                    </a:solidFill>
                  </a:tcPr>
                </a:tc>
                <a:tc>
                  <a:txBody>
                    <a:bodyPr/>
                    <a:lstStyle/>
                    <a:p>
                      <a:pPr algn="ctr">
                        <a:defRPr sz="1100">
                          <a:latin typeface="Nexa Book"/>
                        </a:defRPr>
                      </a:pPr>
                      <a:r>
                        <a:rPr b="1">
                          <a:solidFill>
                            <a:srgbClr val="575555"/>
                          </a:solidFill>
                        </a:rPr>
                        <a:t>No Spray Liquido</a:t>
                      </a:r>
                    </a:p>
                  </a:txBody>
                  <a:tcPr anchor="ctr">
                    <a:solidFill>
                      <a:schemeClr val="bg2"/>
                    </a:solidFill>
                  </a:tcPr>
                </a:tc>
                <a:tc>
                  <a:txBody>
                    <a:bodyPr/>
                    <a:lstStyle/>
                    <a:p>
                      <a:pPr algn="ctr">
                        <a:defRPr sz="1100">
                          <a:latin typeface="Nexa Book"/>
                        </a:defRPr>
                      </a:pPr>
                      <a:r>
                        <a:rPr b="1">
                          <a:solidFill>
                            <a:srgbClr val="575555"/>
                          </a:solidFill>
                        </a:rPr>
                        <a:t>No Spray Gel</a:t>
                      </a:r>
                    </a:p>
                  </a:txBody>
                  <a:tcPr anchor="ctr">
                    <a:solidFill>
                      <a:schemeClr val="bg2"/>
                    </a:solidFill>
                  </a:tcPr>
                </a:tc>
                <a:tc>
                  <a:txBody>
                    <a:bodyPr/>
                    <a:lstStyle/>
                    <a:p>
                      <a:pPr algn="ctr">
                        <a:defRPr sz="1100">
                          <a:latin typeface="Nexa Book"/>
                        </a:defRPr>
                      </a:pPr>
                      <a:r>
                        <a:rPr b="1">
                          <a:solidFill>
                            <a:srgbClr val="575555"/>
                          </a:solidFill>
                        </a:rPr>
                        <a:t>No Spray Fluido</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318081949"/>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anana Boat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70018576"/>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anana Boat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77634426"/>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anana Boat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81684684"/>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anana Boat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63654005"/>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anana Boat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42920438"/>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anana Boat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19477965"/>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eauty Care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24167621"/>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eauty Care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50251368"/>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eauty Care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0876492"/>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eauty Care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862269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Autos Scanning North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 Car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424147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ubCategory | Autos Scanning South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No Spray Crema</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500727604"/>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eauty Care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43641910"/>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eauty Care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0923168"/>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Beauty Care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48005985"/>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34035087"/>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42802715"/>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96681658"/>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84889139"/>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07340488"/>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47814532"/>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Edgewell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40203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ubCategory | Autos Scanning North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No Spray Crema</a:t>
                      </a:r>
                    </a:p>
                  </a:txBody>
                  <a:tcPr anchor="ctr">
                    <a:solidFill>
                      <a:schemeClr val="bg2"/>
                    </a:solidFill>
                  </a:tcPr>
                </a:tc>
                <a:tc>
                  <a:txBody>
                    <a:bodyPr/>
                    <a:lstStyle/>
                    <a:p>
                      <a:pPr algn="ctr">
                        <a:defRPr sz="1100">
                          <a:latin typeface="Nexa Book"/>
                        </a:defRPr>
                      </a:pPr>
                      <a:r>
                        <a:rPr b="1">
                          <a:solidFill>
                            <a:srgbClr val="575555"/>
                          </a:solidFill>
                        </a:rPr>
                        <a:t>No Spray Liquido</a:t>
                      </a:r>
                    </a:p>
                  </a:txBody>
                  <a:tcPr anchor="ctr">
                    <a:solidFill>
                      <a:schemeClr val="bg2"/>
                    </a:solidFill>
                  </a:tcPr>
                </a:tc>
                <a:tc>
                  <a:txBody>
                    <a:bodyPr/>
                    <a:lstStyle/>
                    <a:p>
                      <a:pPr algn="ctr">
                        <a:defRPr sz="1100">
                          <a:latin typeface="Nexa Book"/>
                        </a:defRPr>
                      </a:pPr>
                      <a:r>
                        <a:rPr b="1">
                          <a:solidFill>
                            <a:srgbClr val="575555"/>
                          </a:solidFill>
                        </a:rPr>
                        <a:t>No Spray Gel</a:t>
                      </a:r>
                    </a:p>
                  </a:txBody>
                  <a:tcPr anchor="ctr">
                    <a:solidFill>
                      <a:schemeClr val="bg2"/>
                    </a:solidFill>
                  </a:tcPr>
                </a:tc>
                <a:tc>
                  <a:txBody>
                    <a:bodyPr/>
                    <a:lstStyle/>
                    <a:p>
                      <a:pPr algn="ctr">
                        <a:defRPr sz="1100">
                          <a:latin typeface="Nexa Book"/>
                        </a:defRPr>
                      </a:pPr>
                      <a:r>
                        <a:rPr b="1">
                          <a:solidFill>
                            <a:srgbClr val="575555"/>
                          </a:solidFill>
                        </a:rPr>
                        <a:t>No Spray Fluido</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236828131"/>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awaiian Tropic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18878293"/>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awaiian Tropic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5222325"/>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awaiian Tropic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44740623"/>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awaiian Tropic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41944034"/>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awaiian Tropic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32194951"/>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awaiian Tropic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6865350"/>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Hawaiian Tropic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14280478"/>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anana Boat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73714993"/>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anana Boat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62593045"/>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anana Boat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645992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ubCategory | Autos Scanning Southeast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No Spray Crema</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071913209"/>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anana Boat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14807715"/>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anana Boat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19791742"/>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anana Boat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34432059"/>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anana Boat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98712829"/>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eauty Care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57571193"/>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eauty Care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51983276"/>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eauty Care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35358090"/>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eauty Care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42705894"/>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eauty Care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98485784"/>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eauty Care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628278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ubCategory | Autos Scanning Bajío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No Spray Crema</a:t>
                      </a:r>
                    </a:p>
                  </a:txBody>
                  <a:tcPr anchor="ctr">
                    <a:solidFill>
                      <a:schemeClr val="bg2"/>
                    </a:solidFill>
                  </a:tcPr>
                </a:tc>
                <a:tc>
                  <a:txBody>
                    <a:bodyPr/>
                    <a:lstStyle/>
                    <a:p>
                      <a:pPr algn="ctr">
                        <a:defRPr sz="1100">
                          <a:latin typeface="Nexa Book"/>
                        </a:defRPr>
                      </a:pPr>
                      <a:r>
                        <a:rPr b="1">
                          <a:solidFill>
                            <a:srgbClr val="575555"/>
                          </a:solidFill>
                        </a:rPr>
                        <a:t>No Spray Liquido</a:t>
                      </a:r>
                    </a:p>
                  </a:txBody>
                  <a:tcPr anchor="ctr">
                    <a:solidFill>
                      <a:schemeClr val="bg2"/>
                    </a:solidFill>
                  </a:tcPr>
                </a:tc>
                <a:tc>
                  <a:txBody>
                    <a:bodyPr/>
                    <a:lstStyle/>
                    <a:p>
                      <a:pPr algn="ctr">
                        <a:defRPr sz="1100">
                          <a:latin typeface="Nexa Book"/>
                        </a:defRPr>
                      </a:pPr>
                      <a:r>
                        <a:rPr b="1">
                          <a:solidFill>
                            <a:srgbClr val="575555"/>
                          </a:solidFill>
                        </a:rPr>
                        <a:t>No Spray Gel</a:t>
                      </a:r>
                    </a:p>
                  </a:txBody>
                  <a:tcPr anchor="ctr">
                    <a:solidFill>
                      <a:schemeClr val="bg2"/>
                    </a:solidFill>
                  </a:tcPr>
                </a:tc>
                <a:tc>
                  <a:txBody>
                    <a:bodyPr/>
                    <a:lstStyle/>
                    <a:p>
                      <a:pPr algn="ctr">
                        <a:defRPr sz="1100">
                          <a:latin typeface="Nexa Book"/>
                        </a:defRPr>
                      </a:pPr>
                      <a:r>
                        <a:rPr b="1">
                          <a:solidFill>
                            <a:srgbClr val="575555"/>
                          </a:solidFill>
                        </a:rPr>
                        <a:t>No Spray Fluido</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111481248"/>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Beauty Care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15467534"/>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05897147"/>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50068389"/>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92141082"/>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50593441"/>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93702009"/>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10324604"/>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Edgewell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12157448"/>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awaiian Tropic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07932613"/>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awaiian Tropic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316873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ubCategory | Autos Scanning West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No Spray Crema</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11383025"/>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awaiian Tropic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06157212"/>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awaiian Tropic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2240114"/>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awaiian Tropic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59478343"/>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awaiian Tropic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83820296"/>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Hawaiian Tropic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123310"/>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anana Boat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02919953"/>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anana Boat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32521557"/>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anana Boat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45880156"/>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anana Boat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61782183"/>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anana Boat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410525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ubCategory | Autos Scanning Center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No Spray Crema</a:t>
                      </a:r>
                    </a:p>
                  </a:txBody>
                  <a:tcPr anchor="ctr">
                    <a:solidFill>
                      <a:schemeClr val="bg2"/>
                    </a:solidFill>
                  </a:tcPr>
                </a:tc>
                <a:tc>
                  <a:txBody>
                    <a:bodyPr/>
                    <a:lstStyle/>
                    <a:p>
                      <a:pPr algn="ctr">
                        <a:defRPr sz="1100">
                          <a:latin typeface="Nexa Book"/>
                        </a:defRPr>
                      </a:pPr>
                      <a:r>
                        <a:rPr b="1">
                          <a:solidFill>
                            <a:srgbClr val="575555"/>
                          </a:solidFill>
                        </a:rPr>
                        <a:t>No Spray Liquido</a:t>
                      </a:r>
                    </a:p>
                  </a:txBody>
                  <a:tcPr anchor="ctr">
                    <a:solidFill>
                      <a:schemeClr val="bg2"/>
                    </a:solidFill>
                  </a:tcPr>
                </a:tc>
                <a:tc>
                  <a:txBody>
                    <a:bodyPr/>
                    <a:lstStyle/>
                    <a:p>
                      <a:pPr algn="ctr">
                        <a:defRPr sz="1100">
                          <a:latin typeface="Nexa Book"/>
                        </a:defRPr>
                      </a:pPr>
                      <a:r>
                        <a:rPr b="1">
                          <a:solidFill>
                            <a:srgbClr val="575555"/>
                          </a:solidFill>
                        </a:rPr>
                        <a:t>No Spray Gel</a:t>
                      </a:r>
                    </a:p>
                  </a:txBody>
                  <a:tcPr anchor="ctr">
                    <a:solidFill>
                      <a:schemeClr val="bg2"/>
                    </a:solidFill>
                  </a:tcPr>
                </a:tc>
                <a:tc>
                  <a:txBody>
                    <a:bodyPr/>
                    <a:lstStyle/>
                    <a:p>
                      <a:pPr algn="ctr">
                        <a:defRPr sz="1100">
                          <a:latin typeface="Nexa Book"/>
                        </a:defRPr>
                      </a:pPr>
                      <a:r>
                        <a:rPr b="1">
                          <a:solidFill>
                            <a:srgbClr val="575555"/>
                          </a:solidFill>
                        </a:rPr>
                        <a:t>No Spray Fluido</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366108943"/>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anana Boat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8167072"/>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anana Boat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24065749"/>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eauty Care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17992274"/>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eauty Care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62712622"/>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eauty Care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005942">
                  <a:extLst>
                    <a:ext uri="{9D8B030D-6E8A-4147-A177-3AD203B41FA5}">
                      <a16:colId xmlns:a16="http://schemas.microsoft.com/office/drawing/2014/main" val="2253286919"/>
                    </a:ext>
                  </a:extLst>
                </a:gridCol>
                <a:gridCol w="1005942">
                  <a:extLst>
                    <a:ext uri="{9D8B030D-6E8A-4147-A177-3AD203B41FA5}">
                      <a16:colId xmlns:a16="http://schemas.microsoft.com/office/drawing/2014/main" val="154020430"/>
                    </a:ext>
                  </a:extLst>
                </a:gridCol>
                <a:gridCol w="1005942">
                  <a:extLst>
                    <a:ext uri="{9D8B030D-6E8A-4147-A177-3AD203B41FA5}">
                      <a16:colId xmlns:a16="http://schemas.microsoft.com/office/drawing/2014/main" val="3928813835"/>
                    </a:ext>
                  </a:extLst>
                </a:gridCol>
                <a:gridCol w="1005942">
                  <a:extLst>
                    <a:ext uri="{9D8B030D-6E8A-4147-A177-3AD203B41FA5}">
                      <a16:colId xmlns:a16="http://schemas.microsoft.com/office/drawing/2014/main" val="4099274801"/>
                    </a:ext>
                  </a:extLst>
                </a:gridCol>
                <a:gridCol w="1005942">
                  <a:extLst>
                    <a:ext uri="{9D8B030D-6E8A-4147-A177-3AD203B41FA5}">
                      <a16:colId xmlns:a16="http://schemas.microsoft.com/office/drawing/2014/main" val="3203434082"/>
                    </a:ext>
                  </a:extLst>
                </a:gridCol>
                <a:gridCol w="1005942">
                  <a:extLst>
                    <a:ext uri="{9D8B030D-6E8A-4147-A177-3AD203B41FA5}">
                      <a16:colId xmlns:a16="http://schemas.microsoft.com/office/drawing/2014/main" val="1306444463"/>
                    </a:ext>
                  </a:extLst>
                </a:gridCol>
                <a:gridCol w="1005942">
                  <a:extLst>
                    <a:ext uri="{9D8B030D-6E8A-4147-A177-3AD203B41FA5}">
                      <a16:colId xmlns:a16="http://schemas.microsoft.com/office/drawing/2014/main" val="2052677327"/>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5"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005948">
                  <a:extLst>
                    <a:ext uri="{9D8B030D-6E8A-4147-A177-3AD203B41FA5}">
                      <a16:colId xmlns:a16="http://schemas.microsoft.com/office/drawing/2014/main" val="2253286919"/>
                    </a:ext>
                  </a:extLst>
                </a:gridCol>
                <a:gridCol w="1005948">
                  <a:extLst>
                    <a:ext uri="{9D8B030D-6E8A-4147-A177-3AD203B41FA5}">
                      <a16:colId xmlns:a16="http://schemas.microsoft.com/office/drawing/2014/main" val="154020430"/>
                    </a:ext>
                  </a:extLst>
                </a:gridCol>
                <a:gridCol w="1005948">
                  <a:extLst>
                    <a:ext uri="{9D8B030D-6E8A-4147-A177-3AD203B41FA5}">
                      <a16:colId xmlns:a16="http://schemas.microsoft.com/office/drawing/2014/main" val="3928813835"/>
                    </a:ext>
                  </a:extLst>
                </a:gridCol>
                <a:gridCol w="1005948">
                  <a:extLst>
                    <a:ext uri="{9D8B030D-6E8A-4147-A177-3AD203B41FA5}">
                      <a16:colId xmlns:a16="http://schemas.microsoft.com/office/drawing/2014/main" val="4099274801"/>
                    </a:ext>
                  </a:extLst>
                </a:gridCol>
                <a:gridCol w="1005948">
                  <a:extLst>
                    <a:ext uri="{9D8B030D-6E8A-4147-A177-3AD203B41FA5}">
                      <a16:colId xmlns:a16="http://schemas.microsoft.com/office/drawing/2014/main" val="3203434082"/>
                    </a:ext>
                  </a:extLst>
                </a:gridCol>
                <a:gridCol w="1005948">
                  <a:extLst>
                    <a:ext uri="{9D8B030D-6E8A-4147-A177-3AD203B41FA5}">
                      <a16:colId xmlns:a16="http://schemas.microsoft.com/office/drawing/2014/main" val="1306444463"/>
                    </a:ext>
                  </a:extLst>
                </a:gridCol>
                <a:gridCol w="1005948">
                  <a:extLst>
                    <a:ext uri="{9D8B030D-6E8A-4147-A177-3AD203B41FA5}">
                      <a16:colId xmlns:a16="http://schemas.microsoft.com/office/drawing/2014/main" val="2052677327"/>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08462611"/>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eauty Care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41842944"/>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eauty Care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7982507"/>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eauty Care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22214048"/>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Category Value Sales &amp; Avg Price Per Kg | Category vs. Beauty Care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880200">
                  <a:extLst>
                    <a:ext uri="{9D8B030D-6E8A-4147-A177-3AD203B41FA5}">
                      <a16:colId xmlns:a16="http://schemas.microsoft.com/office/drawing/2014/main" val="2253286919"/>
                    </a:ext>
                  </a:extLst>
                </a:gridCol>
                <a:gridCol w="880200">
                  <a:extLst>
                    <a:ext uri="{9D8B030D-6E8A-4147-A177-3AD203B41FA5}">
                      <a16:colId xmlns:a16="http://schemas.microsoft.com/office/drawing/2014/main" val="154020430"/>
                    </a:ext>
                  </a:extLst>
                </a:gridCol>
                <a:gridCol w="880200">
                  <a:extLst>
                    <a:ext uri="{9D8B030D-6E8A-4147-A177-3AD203B41FA5}">
                      <a16:colId xmlns:a16="http://schemas.microsoft.com/office/drawing/2014/main" val="3928813835"/>
                    </a:ext>
                  </a:extLst>
                </a:gridCol>
                <a:gridCol w="880200">
                  <a:extLst>
                    <a:ext uri="{9D8B030D-6E8A-4147-A177-3AD203B41FA5}">
                      <a16:colId xmlns:a16="http://schemas.microsoft.com/office/drawing/2014/main" val="4099274801"/>
                    </a:ext>
                  </a:extLst>
                </a:gridCol>
                <a:gridCol w="880200">
                  <a:extLst>
                    <a:ext uri="{9D8B030D-6E8A-4147-A177-3AD203B41FA5}">
                      <a16:colId xmlns:a16="http://schemas.microsoft.com/office/drawing/2014/main" val="3203434082"/>
                    </a:ext>
                  </a:extLst>
                </a:gridCol>
                <a:gridCol w="880200">
                  <a:extLst>
                    <a:ext uri="{9D8B030D-6E8A-4147-A177-3AD203B41FA5}">
                      <a16:colId xmlns:a16="http://schemas.microsoft.com/office/drawing/2014/main" val="1306444463"/>
                    </a:ext>
                  </a:extLst>
                </a:gridCol>
                <a:gridCol w="880200">
                  <a:extLst>
                    <a:ext uri="{9D8B030D-6E8A-4147-A177-3AD203B41FA5}">
                      <a16:colId xmlns:a16="http://schemas.microsoft.com/office/drawing/2014/main" val="2052677327"/>
                    </a:ext>
                  </a:extLst>
                </a:gridCol>
                <a:gridCol w="880200">
                  <a:extLst>
                    <a:ext uri="{9D8B030D-6E8A-4147-A177-3AD203B41FA5}">
                      <a16:colId xmlns:a16="http://schemas.microsoft.com/office/drawing/2014/main" val="1311887603"/>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880205">
                  <a:extLst>
                    <a:ext uri="{9D8B030D-6E8A-4147-A177-3AD203B41FA5}">
                      <a16:colId xmlns:a16="http://schemas.microsoft.com/office/drawing/2014/main" val="2253286919"/>
                    </a:ext>
                  </a:extLst>
                </a:gridCol>
                <a:gridCol w="880205">
                  <a:extLst>
                    <a:ext uri="{9D8B030D-6E8A-4147-A177-3AD203B41FA5}">
                      <a16:colId xmlns:a16="http://schemas.microsoft.com/office/drawing/2014/main" val="154020430"/>
                    </a:ext>
                  </a:extLst>
                </a:gridCol>
                <a:gridCol w="880205">
                  <a:extLst>
                    <a:ext uri="{9D8B030D-6E8A-4147-A177-3AD203B41FA5}">
                      <a16:colId xmlns:a16="http://schemas.microsoft.com/office/drawing/2014/main" val="3928813835"/>
                    </a:ext>
                  </a:extLst>
                </a:gridCol>
                <a:gridCol w="880205">
                  <a:extLst>
                    <a:ext uri="{9D8B030D-6E8A-4147-A177-3AD203B41FA5}">
                      <a16:colId xmlns:a16="http://schemas.microsoft.com/office/drawing/2014/main" val="4099274801"/>
                    </a:ext>
                  </a:extLst>
                </a:gridCol>
                <a:gridCol w="880205">
                  <a:extLst>
                    <a:ext uri="{9D8B030D-6E8A-4147-A177-3AD203B41FA5}">
                      <a16:colId xmlns:a16="http://schemas.microsoft.com/office/drawing/2014/main" val="3203434082"/>
                    </a:ext>
                  </a:extLst>
                </a:gridCol>
                <a:gridCol w="880205">
                  <a:extLst>
                    <a:ext uri="{9D8B030D-6E8A-4147-A177-3AD203B41FA5}">
                      <a16:colId xmlns:a16="http://schemas.microsoft.com/office/drawing/2014/main" val="1306444463"/>
                    </a:ext>
                  </a:extLst>
                </a:gridCol>
                <a:gridCol w="880205">
                  <a:extLst>
                    <a:ext uri="{9D8B030D-6E8A-4147-A177-3AD203B41FA5}">
                      <a16:colId xmlns:a16="http://schemas.microsoft.com/office/drawing/2014/main" val="2052677327"/>
                    </a:ext>
                  </a:extLst>
                </a:gridCol>
                <a:gridCol w="880205">
                  <a:extLst>
                    <a:ext uri="{9D8B030D-6E8A-4147-A177-3AD203B41FA5}">
                      <a16:colId xmlns:a16="http://schemas.microsoft.com/office/drawing/2014/main" val="1311887603"/>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87063494"/>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awaiian Tropic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0561480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810192614"/>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awaiian Tropic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76689116"/>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awaiian Tropic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50796129"/>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awaiian Tropic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64750158"/>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awaiian Tropic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02813282"/>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awaiian Tropic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58220757"/>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Hawaiian Tropic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62813113"/>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anana Boat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69646979"/>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anana Boat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73637254"/>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anana Boat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20211871"/>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anana Boat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281396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369910763"/>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anana Boat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31179130"/>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anana Boat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89625569"/>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anana Boat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52693786"/>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eauty Care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6135915"/>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eauty Care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67422605"/>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eauty Care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06606199"/>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eauty Care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06370333"/>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eauty Care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31610165"/>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eauty Care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22121291"/>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Beauty Care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4507835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600532027"/>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awaiian Tropic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63585849"/>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awaiian Tropic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64194722"/>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awaiian Tropic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84647879"/>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awaiian Tropic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2597928"/>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awaiian Tropic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87674966"/>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awaiian Tropic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06286747"/>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Hawaiian Tropic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72844910"/>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anana Boat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91828501"/>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anana Boat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71126942"/>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anana Boat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2254950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284261794"/>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anana Boat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25007258"/>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anana Boat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38811283"/>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anana Boat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79626293"/>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anana Boat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2537873"/>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eauty Care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18110581"/>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eauty Care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7689825"/>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eauty Care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80163356"/>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eauty Care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40586499"/>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eauty Care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64190957"/>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eauty Care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55048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Autos Scanning Southeast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 Car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70593851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448783166"/>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Beauty Care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98051311"/>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awaiian Tropic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72744526"/>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awaiian Tropic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17347223"/>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awaiian Tropic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84305822"/>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awaiian Tropic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08595850"/>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awaiian Tropic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59356569"/>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awaiian Tropic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62920386"/>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Hawaiian Tropic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342422"/>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anana Boat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36562706"/>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anana Boat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550703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615071363"/>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anana Boat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1551050"/>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anana Boat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77330783"/>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anana Boat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2237406"/>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anana Boat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43749218"/>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anana Boat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58554937"/>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eauty Care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26500961"/>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eauty Care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29169502"/>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eauty Care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52027038"/>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eauty Care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45554781"/>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eauty Care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70319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105390309"/>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eauty Care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33018067"/>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Beauty Care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53216516"/>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awaiian Tropic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88448029"/>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awaiian Tropic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55877900"/>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awaiian Tropic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74822755"/>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awaiian Tropic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4351460"/>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awaiian Tropic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5620080"/>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awaiian Tropic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1054261"/>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Hawaiian Tropic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0015748"/>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anana Boat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907613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Autos Sc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2698713"/>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anana Boat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27963294"/>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anana Boat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49266857"/>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anana Boat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07748582"/>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anana Boat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8342367"/>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anana Boat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1007764"/>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anana Boat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0296854"/>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eauty Care | Autos Scanning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17810996"/>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eauty Care | Autos Scanning Sou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26641246"/>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eauty Care | Autos Scanning North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06471189"/>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eauty Care | Autos Scanning Southea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145114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Autos Scanning South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32170026"/>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eauty Care | Autos Scanning Bajío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51442591"/>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eauty Care | Autos Scanning Wes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32975553"/>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6/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April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Category Value Sales &amp; Avg Price Per Kg | Category vs. Beauty Care | Autos Scanning Cente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Category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080621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Autos Scanning North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2922235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Autos Scanning Southea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4685529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Autos Scanning Bají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1868230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Autos Scanning 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0176642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Autos Scanning Cente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764823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Autos Scanning Bajío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 Car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69228544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7020451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8645510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0634944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6471399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0093190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3158990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8970613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2753632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6052004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605232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Autos Scanning West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 Car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93330173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4818225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4262342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0400247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5500066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0339044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572803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5909116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2622935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5187690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828891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Autos Scanning Center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Sun Car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3344763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1579475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9031280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6502234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0927714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0738343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1332280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2283611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5766268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0127781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02951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Autos Scanning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a:t>
                      </a:r>
                    </a:p>
                  </a:txBody>
                  <a:tcPr anchor="ctr">
                    <a:solidFill>
                      <a:schemeClr val="bg2"/>
                    </a:solidFill>
                  </a:tcPr>
                </a:tc>
                <a:tc>
                  <a:txBody>
                    <a:bodyPr/>
                    <a:lstStyle/>
                    <a:p>
                      <a:pPr algn="ctr">
                        <a:defRPr sz="1100">
                          <a:latin typeface="Nexa Book"/>
                        </a:defRPr>
                      </a:pPr>
                      <a:r>
                        <a:rPr b="1">
                          <a:solidFill>
                            <a:srgbClr val="575555"/>
                          </a:solidFill>
                        </a:rPr>
                        <a:t>Banded Pack</a:t>
                      </a:r>
                    </a:p>
                  </a:txBody>
                  <a:tcPr anchor="ctr">
                    <a:solidFill>
                      <a:schemeClr val="bg2"/>
                    </a:solidFill>
                  </a:tcPr>
                </a:tc>
                <a:tc>
                  <a:txBody>
                    <a:bodyPr/>
                    <a:lstStyle/>
                    <a:p>
                      <a:pPr algn="ctr">
                        <a:defRPr sz="1100">
                          <a:latin typeface="Nexa Book"/>
                        </a:defRPr>
                      </a:pPr>
                      <a:r>
                        <a:rPr b="1">
                          <a:solidFill>
                            <a:srgbClr val="575555"/>
                          </a:solidFill>
                        </a:rPr>
                        <a:t>Tanning</a:t>
                      </a:r>
                    </a:p>
                  </a:txBody>
                  <a:tcPr anchor="ctr">
                    <a:solidFill>
                      <a:schemeClr val="bg2"/>
                    </a:solidFill>
                  </a:tcPr>
                </a:tc>
                <a:tc>
                  <a:txBody>
                    <a:bodyPr/>
                    <a:lstStyle/>
                    <a:p>
                      <a:pPr algn="ctr">
                        <a:defRPr sz="1100">
                          <a:latin typeface="Nexa Book"/>
                        </a:defRPr>
                      </a:pPr>
                      <a:r>
                        <a:rPr b="1">
                          <a:solidFill>
                            <a:srgbClr val="575555"/>
                          </a:solidFill>
                        </a:rPr>
                        <a:t>After Su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02451754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3179096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9830050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6689344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4899166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6583936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4090522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7277259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6841993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2034336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478513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Autos Scanning South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Sunscreen</a:t>
                      </a:r>
                    </a:p>
                  </a:txBody>
                  <a:tcPr anchor="ctr">
                    <a:solidFill>
                      <a:schemeClr val="bg2"/>
                    </a:solidFill>
                  </a:tcPr>
                </a:tc>
                <a:tc>
                  <a:txBody>
                    <a:bodyPr/>
                    <a:lstStyle/>
                    <a:p>
                      <a:pPr algn="ctr">
                        <a:defRPr sz="1100">
                          <a:latin typeface="Nexa Book"/>
                        </a:defRPr>
                      </a:pPr>
                      <a:r>
                        <a:rPr b="1">
                          <a:solidFill>
                            <a:srgbClr val="575555"/>
                          </a:solidFill>
                        </a:rPr>
                        <a:t>Banded Pack</a:t>
                      </a:r>
                    </a:p>
                  </a:txBody>
                  <a:tcPr anchor="ctr">
                    <a:solidFill>
                      <a:schemeClr val="bg2"/>
                    </a:solidFill>
                  </a:tcPr>
                </a:tc>
                <a:tc>
                  <a:txBody>
                    <a:bodyPr/>
                    <a:lstStyle/>
                    <a:p>
                      <a:pPr algn="ctr">
                        <a:defRPr sz="1100">
                          <a:latin typeface="Nexa Book"/>
                        </a:defRPr>
                      </a:pPr>
                      <a:r>
                        <a:rPr b="1">
                          <a:solidFill>
                            <a:srgbClr val="575555"/>
                          </a:solidFill>
                        </a:rPr>
                        <a:t>Tanning</a:t>
                      </a:r>
                    </a:p>
                  </a:txBody>
                  <a:tcPr anchor="ctr">
                    <a:solidFill>
                      <a:schemeClr val="bg2"/>
                    </a:solidFill>
                  </a:tcPr>
                </a:tc>
                <a:tc>
                  <a:txBody>
                    <a:bodyPr/>
                    <a:lstStyle/>
                    <a:p>
                      <a:pPr algn="ctr">
                        <a:defRPr sz="1100">
                          <a:latin typeface="Nexa Book"/>
                        </a:defRPr>
                      </a:pPr>
                      <a:r>
                        <a:rPr b="1">
                          <a:solidFill>
                            <a:srgbClr val="575555"/>
                          </a:solidFill>
                        </a:rPr>
                        <a:t>After Su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69514725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2472248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3066101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8336174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4419890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0058409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641751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6139614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3276124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3007418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1816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8</TotalTime>
  <Words>36506</Words>
  <Application>Microsoft Office PowerPoint</Application>
  <PresentationFormat>On-screen Show (16:9)</PresentationFormat>
  <Paragraphs>8830</Paragraphs>
  <Slides>442</Slides>
  <Notes>17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42</vt:i4>
      </vt:variant>
    </vt:vector>
  </HeadingPairs>
  <TitlesOfParts>
    <vt:vector size="452"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0</cp:revision>
  <dcterms:created xsi:type="dcterms:W3CDTF">2024-07-05T14:56:51Z</dcterms:created>
  <dcterms:modified xsi:type="dcterms:W3CDTF">2025-07-06T10:16: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